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pptx" ContentType="application/vnd.openxmlformats-officedocument.presentationml.presentation"/>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7" r:id="rId2"/>
  </p:sldMasterIdLst>
  <p:notesMasterIdLst>
    <p:notesMasterId r:id="rId49"/>
  </p:notesMasterIdLst>
  <p:sldIdLst>
    <p:sldId id="513" r:id="rId3"/>
    <p:sldId id="512" r:id="rId4"/>
    <p:sldId id="278" r:id="rId5"/>
    <p:sldId id="279" r:id="rId6"/>
    <p:sldId id="280" r:id="rId7"/>
    <p:sldId id="281" r:id="rId8"/>
    <p:sldId id="282" r:id="rId9"/>
    <p:sldId id="283" r:id="rId10"/>
    <p:sldId id="284" r:id="rId11"/>
    <p:sldId id="285" r:id="rId12"/>
    <p:sldId id="286" r:id="rId13"/>
    <p:sldId id="287" r:id="rId14"/>
    <p:sldId id="288" r:id="rId15"/>
    <p:sldId id="289" r:id="rId16"/>
    <p:sldId id="290" r:id="rId17"/>
    <p:sldId id="291" r:id="rId18"/>
    <p:sldId id="292" r:id="rId19"/>
    <p:sldId id="293" r:id="rId20"/>
    <p:sldId id="412" r:id="rId21"/>
    <p:sldId id="294" r:id="rId22"/>
    <p:sldId id="296" r:id="rId23"/>
    <p:sldId id="298" r:id="rId24"/>
    <p:sldId id="299" r:id="rId25"/>
    <p:sldId id="301" r:id="rId26"/>
    <p:sldId id="302" r:id="rId27"/>
    <p:sldId id="333" r:id="rId28"/>
    <p:sldId id="336" r:id="rId29"/>
    <p:sldId id="335" r:id="rId30"/>
    <p:sldId id="413" r:id="rId31"/>
    <p:sldId id="414" r:id="rId32"/>
    <p:sldId id="415" r:id="rId33"/>
    <p:sldId id="416" r:id="rId34"/>
    <p:sldId id="417" r:id="rId35"/>
    <p:sldId id="418" r:id="rId36"/>
    <p:sldId id="419" r:id="rId37"/>
    <p:sldId id="422" r:id="rId38"/>
    <p:sldId id="423" r:id="rId39"/>
    <p:sldId id="424" r:id="rId40"/>
    <p:sldId id="443" r:id="rId41"/>
    <p:sldId id="444" r:id="rId42"/>
    <p:sldId id="445" r:id="rId43"/>
    <p:sldId id="446" r:id="rId44"/>
    <p:sldId id="352" r:id="rId45"/>
    <p:sldId id="447" r:id="rId46"/>
    <p:sldId id="258" r:id="rId47"/>
    <p:sldId id="259" r:id="rId4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150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BAF30D-7F6D-46A7-9730-8CF9B7FF455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94B90960-72F4-4E3A-A9DF-CA88834C6202}">
      <dgm:prSet phldrT="[Text]"/>
      <dgm:spPr>
        <a:solidFill>
          <a:srgbClr val="7030A0">
            <a:alpha val="90000"/>
          </a:srgbClr>
        </a:solidFill>
      </dgm:spPr>
      <dgm:t>
        <a:bodyPr/>
        <a:lstStyle/>
        <a:p>
          <a:r>
            <a:rPr lang="en-US" dirty="0">
              <a:solidFill>
                <a:schemeClr val="bg1"/>
              </a:solidFill>
            </a:rPr>
            <a:t>Federal Acquisition Regulation (FAR)</a:t>
          </a:r>
        </a:p>
      </dgm:t>
    </dgm:pt>
    <dgm:pt modelId="{3A635FDE-DA3A-410D-AE76-07627815C5E1}" type="parTrans" cxnId="{028014CA-67E4-4351-B44C-D47E8267C4CB}">
      <dgm:prSet/>
      <dgm:spPr/>
      <dgm:t>
        <a:bodyPr/>
        <a:lstStyle/>
        <a:p>
          <a:endParaRPr lang="en-US"/>
        </a:p>
      </dgm:t>
    </dgm:pt>
    <dgm:pt modelId="{F713F8BF-E7AA-48C7-9088-9B892BA62AAA}" type="sibTrans" cxnId="{028014CA-67E4-4351-B44C-D47E8267C4CB}">
      <dgm:prSet/>
      <dgm:spPr/>
      <dgm:t>
        <a:bodyPr/>
        <a:lstStyle/>
        <a:p>
          <a:endParaRPr lang="en-US"/>
        </a:p>
      </dgm:t>
    </dgm:pt>
    <dgm:pt modelId="{5FA398D5-846C-42E5-A1F1-363BFC156D07}">
      <dgm:prSet phldrT="[Text]"/>
      <dgm:spPr>
        <a:solidFill>
          <a:srgbClr val="00B050">
            <a:alpha val="90000"/>
          </a:srgbClr>
        </a:solidFill>
      </dgm:spPr>
      <dgm:t>
        <a:bodyPr/>
        <a:lstStyle/>
        <a:p>
          <a:r>
            <a:rPr lang="en-US" dirty="0">
              <a:solidFill>
                <a:schemeClr val="tx1"/>
              </a:solidFill>
            </a:rPr>
            <a:t>Defense Federal Acquisition Regulation Supplement</a:t>
          </a:r>
        </a:p>
      </dgm:t>
    </dgm:pt>
    <dgm:pt modelId="{15898255-D17D-4252-A277-C971B9CBE51E}" type="parTrans" cxnId="{CE796256-4F1E-4856-B916-50C477499076}">
      <dgm:prSet/>
      <dgm:spPr/>
      <dgm:t>
        <a:bodyPr/>
        <a:lstStyle/>
        <a:p>
          <a:endParaRPr lang="en-US"/>
        </a:p>
      </dgm:t>
    </dgm:pt>
    <dgm:pt modelId="{DA676569-77F9-4728-A5A0-4202CD0686D4}" type="sibTrans" cxnId="{CE796256-4F1E-4856-B916-50C477499076}">
      <dgm:prSet/>
      <dgm:spPr/>
      <dgm:t>
        <a:bodyPr/>
        <a:lstStyle/>
        <a:p>
          <a:endParaRPr lang="en-US"/>
        </a:p>
      </dgm:t>
    </dgm:pt>
    <dgm:pt modelId="{B89E3C0F-5327-40CE-8419-775A9581A01F}">
      <dgm:prSet phldrT="[Text]"/>
      <dgm:spPr>
        <a:solidFill>
          <a:srgbClr val="00B050">
            <a:alpha val="90000"/>
          </a:srgbClr>
        </a:solidFill>
      </dgm:spPr>
      <dgm:t>
        <a:bodyPr/>
        <a:lstStyle/>
        <a:p>
          <a:r>
            <a:rPr lang="en-US" dirty="0">
              <a:solidFill>
                <a:schemeClr val="tx1"/>
              </a:solidFill>
            </a:rPr>
            <a:t>Defense Logistics Agency Supplement</a:t>
          </a:r>
        </a:p>
      </dgm:t>
    </dgm:pt>
    <dgm:pt modelId="{808A67CD-F7FA-4C4C-A1DA-8213803D3D35}" type="parTrans" cxnId="{105E85A5-9C94-45C6-8A08-FBAD66EDD6C7}">
      <dgm:prSet/>
      <dgm:spPr/>
      <dgm:t>
        <a:bodyPr/>
        <a:lstStyle/>
        <a:p>
          <a:endParaRPr lang="en-US"/>
        </a:p>
      </dgm:t>
    </dgm:pt>
    <dgm:pt modelId="{10E9222D-6460-40CD-897A-E3B281738F01}" type="sibTrans" cxnId="{105E85A5-9C94-45C6-8A08-FBAD66EDD6C7}">
      <dgm:prSet/>
      <dgm:spPr/>
      <dgm:t>
        <a:bodyPr/>
        <a:lstStyle/>
        <a:p>
          <a:endParaRPr lang="en-US"/>
        </a:p>
      </dgm:t>
    </dgm:pt>
    <dgm:pt modelId="{DE66CC95-1D95-4E97-BBD2-4EAA08EAA64F}">
      <dgm:prSet phldrT="[Text]"/>
      <dgm:spPr>
        <a:solidFill>
          <a:srgbClr val="00B050">
            <a:alpha val="90000"/>
          </a:srgbClr>
        </a:solidFill>
      </dgm:spPr>
      <dgm:t>
        <a:bodyPr/>
        <a:lstStyle/>
        <a:p>
          <a:r>
            <a:rPr lang="en-US" dirty="0">
              <a:solidFill>
                <a:schemeClr val="tx1"/>
              </a:solidFill>
            </a:rPr>
            <a:t>Other Defense </a:t>
          </a:r>
          <a:r>
            <a:rPr lang="en-US" dirty="0" err="1">
              <a:solidFill>
                <a:schemeClr val="tx1"/>
              </a:solidFill>
            </a:rPr>
            <a:t>Subagency</a:t>
          </a:r>
          <a:r>
            <a:rPr lang="en-US" dirty="0">
              <a:solidFill>
                <a:schemeClr val="tx1"/>
              </a:solidFill>
            </a:rPr>
            <a:t> Supplements</a:t>
          </a:r>
        </a:p>
      </dgm:t>
    </dgm:pt>
    <dgm:pt modelId="{82CCD9E0-4559-4DED-B218-7A376F1F2B38}" type="parTrans" cxnId="{9E3B2C1A-A467-4578-B786-6CAD66D7C12D}">
      <dgm:prSet/>
      <dgm:spPr/>
      <dgm:t>
        <a:bodyPr/>
        <a:lstStyle/>
        <a:p>
          <a:endParaRPr lang="en-US"/>
        </a:p>
      </dgm:t>
    </dgm:pt>
    <dgm:pt modelId="{DB2CCDD9-DC5C-4391-A146-7D60F8618720}" type="sibTrans" cxnId="{9E3B2C1A-A467-4578-B786-6CAD66D7C12D}">
      <dgm:prSet/>
      <dgm:spPr/>
      <dgm:t>
        <a:bodyPr/>
        <a:lstStyle/>
        <a:p>
          <a:endParaRPr lang="en-US"/>
        </a:p>
      </dgm:t>
    </dgm:pt>
    <dgm:pt modelId="{DF36A8E1-7F8C-4C0A-9793-158A91F53845}">
      <dgm:prSet phldrT="[Text]"/>
      <dgm:spPr>
        <a:solidFill>
          <a:srgbClr val="C00000">
            <a:alpha val="90000"/>
          </a:srgbClr>
        </a:solidFill>
      </dgm:spPr>
      <dgm:t>
        <a:bodyPr/>
        <a:lstStyle/>
        <a:p>
          <a:r>
            <a:rPr lang="en-US" dirty="0">
              <a:solidFill>
                <a:schemeClr val="tx1"/>
              </a:solidFill>
            </a:rPr>
            <a:t>Civilian Agency Supplement</a:t>
          </a:r>
        </a:p>
      </dgm:t>
    </dgm:pt>
    <dgm:pt modelId="{E8DBC232-B1F1-40BC-9539-E2FD463FB769}" type="parTrans" cxnId="{C7A1D2F1-A71D-4DEB-9A02-5F4FB26E3D13}">
      <dgm:prSet/>
      <dgm:spPr/>
      <dgm:t>
        <a:bodyPr/>
        <a:lstStyle/>
        <a:p>
          <a:endParaRPr lang="en-US"/>
        </a:p>
      </dgm:t>
    </dgm:pt>
    <dgm:pt modelId="{8780966E-80A9-4234-AF68-9FAC4753512D}" type="sibTrans" cxnId="{C7A1D2F1-A71D-4DEB-9A02-5F4FB26E3D13}">
      <dgm:prSet/>
      <dgm:spPr/>
      <dgm:t>
        <a:bodyPr/>
        <a:lstStyle/>
        <a:p>
          <a:endParaRPr lang="en-US"/>
        </a:p>
      </dgm:t>
    </dgm:pt>
    <dgm:pt modelId="{B02C8959-773F-4EAF-8AB8-D2B859C0FF41}">
      <dgm:prSet/>
      <dgm:spPr>
        <a:solidFill>
          <a:srgbClr val="CC6600">
            <a:alpha val="90000"/>
          </a:srgbClr>
        </a:solidFill>
      </dgm:spPr>
      <dgm:t>
        <a:bodyPr/>
        <a:lstStyle/>
        <a:p>
          <a:r>
            <a:rPr lang="en-US" dirty="0">
              <a:solidFill>
                <a:schemeClr val="tx1"/>
              </a:solidFill>
            </a:rPr>
            <a:t>Civilian Agency Supplement</a:t>
          </a:r>
        </a:p>
      </dgm:t>
    </dgm:pt>
    <dgm:pt modelId="{74287ACB-39D4-478A-A354-CF574C2CBB16}" type="parTrans" cxnId="{B5A4EB5B-A6A4-441F-9071-79D3F4158ABB}">
      <dgm:prSet/>
      <dgm:spPr/>
      <dgm:t>
        <a:bodyPr/>
        <a:lstStyle/>
        <a:p>
          <a:endParaRPr lang="en-US"/>
        </a:p>
      </dgm:t>
    </dgm:pt>
    <dgm:pt modelId="{2EFC8BE6-A771-455F-8D12-3880B2751F28}" type="sibTrans" cxnId="{B5A4EB5B-A6A4-441F-9071-79D3F4158ABB}">
      <dgm:prSet/>
      <dgm:spPr/>
      <dgm:t>
        <a:bodyPr/>
        <a:lstStyle/>
        <a:p>
          <a:endParaRPr lang="en-US"/>
        </a:p>
      </dgm:t>
    </dgm:pt>
    <dgm:pt modelId="{EEB3C97D-60A8-47E8-B940-67E2D52E10DE}" type="pres">
      <dgm:prSet presAssocID="{59BAF30D-7F6D-46A7-9730-8CF9B7FF455A}" presName="hierChild1" presStyleCnt="0">
        <dgm:presLayoutVars>
          <dgm:chPref val="1"/>
          <dgm:dir/>
          <dgm:animOne val="branch"/>
          <dgm:animLvl val="lvl"/>
          <dgm:resizeHandles/>
        </dgm:presLayoutVars>
      </dgm:prSet>
      <dgm:spPr/>
    </dgm:pt>
    <dgm:pt modelId="{17D72D8B-0E8A-483E-9F15-E857A2562EDE}" type="pres">
      <dgm:prSet presAssocID="{94B90960-72F4-4E3A-A9DF-CA88834C6202}" presName="hierRoot1" presStyleCnt="0"/>
      <dgm:spPr/>
    </dgm:pt>
    <dgm:pt modelId="{1451AFB0-108E-4F49-A568-B727BE814536}" type="pres">
      <dgm:prSet presAssocID="{94B90960-72F4-4E3A-A9DF-CA88834C6202}" presName="composite" presStyleCnt="0"/>
      <dgm:spPr/>
    </dgm:pt>
    <dgm:pt modelId="{F5499508-046E-4AE0-9236-7F6CA568B9C5}" type="pres">
      <dgm:prSet presAssocID="{94B90960-72F4-4E3A-A9DF-CA88834C6202}" presName="background" presStyleLbl="node0" presStyleIdx="0" presStyleCnt="1"/>
      <dgm:spPr/>
    </dgm:pt>
    <dgm:pt modelId="{BA030B88-6520-4453-A1CB-A85E32B69A60}" type="pres">
      <dgm:prSet presAssocID="{94B90960-72F4-4E3A-A9DF-CA88834C6202}" presName="text" presStyleLbl="fgAcc0" presStyleIdx="0" presStyleCnt="1">
        <dgm:presLayoutVars>
          <dgm:chPref val="3"/>
        </dgm:presLayoutVars>
      </dgm:prSet>
      <dgm:spPr/>
    </dgm:pt>
    <dgm:pt modelId="{FC6E999B-80E5-4BDD-9A69-C8FB3E4278D8}" type="pres">
      <dgm:prSet presAssocID="{94B90960-72F4-4E3A-A9DF-CA88834C6202}" presName="hierChild2" presStyleCnt="0"/>
      <dgm:spPr/>
    </dgm:pt>
    <dgm:pt modelId="{B3AB6275-5109-4845-BA11-76D6D227495D}" type="pres">
      <dgm:prSet presAssocID="{15898255-D17D-4252-A277-C971B9CBE51E}" presName="Name10" presStyleLbl="parChTrans1D2" presStyleIdx="0" presStyleCnt="3"/>
      <dgm:spPr/>
    </dgm:pt>
    <dgm:pt modelId="{25347531-F5A3-41C0-A1D5-AE25C10D724D}" type="pres">
      <dgm:prSet presAssocID="{5FA398D5-846C-42E5-A1F1-363BFC156D07}" presName="hierRoot2" presStyleCnt="0"/>
      <dgm:spPr/>
    </dgm:pt>
    <dgm:pt modelId="{6665A4D4-EC55-4404-A781-442FB8D49DFA}" type="pres">
      <dgm:prSet presAssocID="{5FA398D5-846C-42E5-A1F1-363BFC156D07}" presName="composite2" presStyleCnt="0"/>
      <dgm:spPr/>
    </dgm:pt>
    <dgm:pt modelId="{214125FD-F1D6-49D5-9EE6-1405809DEC02}" type="pres">
      <dgm:prSet presAssocID="{5FA398D5-846C-42E5-A1F1-363BFC156D07}" presName="background2" presStyleLbl="node2" presStyleIdx="0" presStyleCnt="3"/>
      <dgm:spPr/>
    </dgm:pt>
    <dgm:pt modelId="{06A84F54-7B19-45E6-B45F-F9F9D54DC709}" type="pres">
      <dgm:prSet presAssocID="{5FA398D5-846C-42E5-A1F1-363BFC156D07}" presName="text2" presStyleLbl="fgAcc2" presStyleIdx="0" presStyleCnt="3">
        <dgm:presLayoutVars>
          <dgm:chPref val="3"/>
        </dgm:presLayoutVars>
      </dgm:prSet>
      <dgm:spPr/>
    </dgm:pt>
    <dgm:pt modelId="{F368D047-F084-44D0-9B0F-79631D2E08FE}" type="pres">
      <dgm:prSet presAssocID="{5FA398D5-846C-42E5-A1F1-363BFC156D07}" presName="hierChild3" presStyleCnt="0"/>
      <dgm:spPr/>
    </dgm:pt>
    <dgm:pt modelId="{EAA2F6AD-341F-4EF8-90ED-99E86BA5FED2}" type="pres">
      <dgm:prSet presAssocID="{808A67CD-F7FA-4C4C-A1DA-8213803D3D35}" presName="Name17" presStyleLbl="parChTrans1D3" presStyleIdx="0" presStyleCnt="2"/>
      <dgm:spPr/>
    </dgm:pt>
    <dgm:pt modelId="{5B344CB3-B110-4BC0-B417-282CB6C228A8}" type="pres">
      <dgm:prSet presAssocID="{B89E3C0F-5327-40CE-8419-775A9581A01F}" presName="hierRoot3" presStyleCnt="0"/>
      <dgm:spPr/>
    </dgm:pt>
    <dgm:pt modelId="{98ADB963-8885-4660-B98D-F3FC8F6C8520}" type="pres">
      <dgm:prSet presAssocID="{B89E3C0F-5327-40CE-8419-775A9581A01F}" presName="composite3" presStyleCnt="0"/>
      <dgm:spPr/>
    </dgm:pt>
    <dgm:pt modelId="{73663E2A-ECF5-4924-9BFC-F72E2200CB03}" type="pres">
      <dgm:prSet presAssocID="{B89E3C0F-5327-40CE-8419-775A9581A01F}" presName="background3" presStyleLbl="node3" presStyleIdx="0" presStyleCnt="2"/>
      <dgm:spPr/>
    </dgm:pt>
    <dgm:pt modelId="{1ED18195-9BBD-4709-B17B-28814005E718}" type="pres">
      <dgm:prSet presAssocID="{B89E3C0F-5327-40CE-8419-775A9581A01F}" presName="text3" presStyleLbl="fgAcc3" presStyleIdx="0" presStyleCnt="2">
        <dgm:presLayoutVars>
          <dgm:chPref val="3"/>
        </dgm:presLayoutVars>
      </dgm:prSet>
      <dgm:spPr/>
    </dgm:pt>
    <dgm:pt modelId="{F71EFE68-43C2-4569-BEC2-72F54194BADF}" type="pres">
      <dgm:prSet presAssocID="{B89E3C0F-5327-40CE-8419-775A9581A01F}" presName="hierChild4" presStyleCnt="0"/>
      <dgm:spPr/>
    </dgm:pt>
    <dgm:pt modelId="{EBCCC4D2-E953-4509-9CA3-CFEAA9F05D43}" type="pres">
      <dgm:prSet presAssocID="{82CCD9E0-4559-4DED-B218-7A376F1F2B38}" presName="Name17" presStyleLbl="parChTrans1D3" presStyleIdx="1" presStyleCnt="2"/>
      <dgm:spPr/>
    </dgm:pt>
    <dgm:pt modelId="{7665FE07-EC76-4CFE-9E6A-323E0B56B0E8}" type="pres">
      <dgm:prSet presAssocID="{DE66CC95-1D95-4E97-BBD2-4EAA08EAA64F}" presName="hierRoot3" presStyleCnt="0"/>
      <dgm:spPr/>
    </dgm:pt>
    <dgm:pt modelId="{358565F9-2E64-4957-AC98-CC818317B2F7}" type="pres">
      <dgm:prSet presAssocID="{DE66CC95-1D95-4E97-BBD2-4EAA08EAA64F}" presName="composite3" presStyleCnt="0"/>
      <dgm:spPr/>
    </dgm:pt>
    <dgm:pt modelId="{9586C6E0-026D-4F51-AFF6-4E596228691E}" type="pres">
      <dgm:prSet presAssocID="{DE66CC95-1D95-4E97-BBD2-4EAA08EAA64F}" presName="background3" presStyleLbl="node3" presStyleIdx="1" presStyleCnt="2"/>
      <dgm:spPr/>
    </dgm:pt>
    <dgm:pt modelId="{F201565A-0E7B-497F-9EA9-289CEE3794BC}" type="pres">
      <dgm:prSet presAssocID="{DE66CC95-1D95-4E97-BBD2-4EAA08EAA64F}" presName="text3" presStyleLbl="fgAcc3" presStyleIdx="1" presStyleCnt="2">
        <dgm:presLayoutVars>
          <dgm:chPref val="3"/>
        </dgm:presLayoutVars>
      </dgm:prSet>
      <dgm:spPr/>
    </dgm:pt>
    <dgm:pt modelId="{9B11A325-AF25-4C1A-9959-F37B80FB2F5A}" type="pres">
      <dgm:prSet presAssocID="{DE66CC95-1D95-4E97-BBD2-4EAA08EAA64F}" presName="hierChild4" presStyleCnt="0"/>
      <dgm:spPr/>
    </dgm:pt>
    <dgm:pt modelId="{024D03C2-CC11-4F96-93B9-28AA2C1F05C2}" type="pres">
      <dgm:prSet presAssocID="{74287ACB-39D4-478A-A354-CF574C2CBB16}" presName="Name10" presStyleLbl="parChTrans1D2" presStyleIdx="1" presStyleCnt="3"/>
      <dgm:spPr/>
    </dgm:pt>
    <dgm:pt modelId="{A8942C16-4728-4A92-8D51-58FBAA12A944}" type="pres">
      <dgm:prSet presAssocID="{B02C8959-773F-4EAF-8AB8-D2B859C0FF41}" presName="hierRoot2" presStyleCnt="0"/>
      <dgm:spPr/>
    </dgm:pt>
    <dgm:pt modelId="{4FF6C489-D9D7-44A4-A226-0AA212699F67}" type="pres">
      <dgm:prSet presAssocID="{B02C8959-773F-4EAF-8AB8-D2B859C0FF41}" presName="composite2" presStyleCnt="0"/>
      <dgm:spPr/>
    </dgm:pt>
    <dgm:pt modelId="{0BF73CE5-171A-41C0-91E9-ED47D88D46C1}" type="pres">
      <dgm:prSet presAssocID="{B02C8959-773F-4EAF-8AB8-D2B859C0FF41}" presName="background2" presStyleLbl="node2" presStyleIdx="1" presStyleCnt="3"/>
      <dgm:spPr/>
    </dgm:pt>
    <dgm:pt modelId="{7D1F3B5C-2501-4FD9-93ED-4E696557C1E0}" type="pres">
      <dgm:prSet presAssocID="{B02C8959-773F-4EAF-8AB8-D2B859C0FF41}" presName="text2" presStyleLbl="fgAcc2" presStyleIdx="1" presStyleCnt="3">
        <dgm:presLayoutVars>
          <dgm:chPref val="3"/>
        </dgm:presLayoutVars>
      </dgm:prSet>
      <dgm:spPr/>
    </dgm:pt>
    <dgm:pt modelId="{ABF9F5AA-B675-4739-8E48-605064309F91}" type="pres">
      <dgm:prSet presAssocID="{B02C8959-773F-4EAF-8AB8-D2B859C0FF41}" presName="hierChild3" presStyleCnt="0"/>
      <dgm:spPr/>
    </dgm:pt>
    <dgm:pt modelId="{40EB6D33-A591-4553-9F67-E6298881EC43}" type="pres">
      <dgm:prSet presAssocID="{E8DBC232-B1F1-40BC-9539-E2FD463FB769}" presName="Name10" presStyleLbl="parChTrans1D2" presStyleIdx="2" presStyleCnt="3"/>
      <dgm:spPr/>
    </dgm:pt>
    <dgm:pt modelId="{94B3EFE1-5D64-4893-99BE-C575A9E29811}" type="pres">
      <dgm:prSet presAssocID="{DF36A8E1-7F8C-4C0A-9793-158A91F53845}" presName="hierRoot2" presStyleCnt="0"/>
      <dgm:spPr/>
    </dgm:pt>
    <dgm:pt modelId="{24566B1D-B796-4708-BC01-8D9F8AC99E1F}" type="pres">
      <dgm:prSet presAssocID="{DF36A8E1-7F8C-4C0A-9793-158A91F53845}" presName="composite2" presStyleCnt="0"/>
      <dgm:spPr/>
    </dgm:pt>
    <dgm:pt modelId="{987646A6-CF18-440F-908E-7DD1A73B6D14}" type="pres">
      <dgm:prSet presAssocID="{DF36A8E1-7F8C-4C0A-9793-158A91F53845}" presName="background2" presStyleLbl="node2" presStyleIdx="2" presStyleCnt="3"/>
      <dgm:spPr/>
    </dgm:pt>
    <dgm:pt modelId="{30F8D9B5-6D3B-430E-8F2D-4450EAB5F2F4}" type="pres">
      <dgm:prSet presAssocID="{DF36A8E1-7F8C-4C0A-9793-158A91F53845}" presName="text2" presStyleLbl="fgAcc2" presStyleIdx="2" presStyleCnt="3">
        <dgm:presLayoutVars>
          <dgm:chPref val="3"/>
        </dgm:presLayoutVars>
      </dgm:prSet>
      <dgm:spPr/>
    </dgm:pt>
    <dgm:pt modelId="{EE49C545-6BFA-4CE7-9A38-14C6F7FF3FFD}" type="pres">
      <dgm:prSet presAssocID="{DF36A8E1-7F8C-4C0A-9793-158A91F53845}" presName="hierChild3" presStyleCnt="0"/>
      <dgm:spPr/>
    </dgm:pt>
  </dgm:ptLst>
  <dgm:cxnLst>
    <dgm:cxn modelId="{9E3B2C1A-A467-4578-B786-6CAD66D7C12D}" srcId="{5FA398D5-846C-42E5-A1F1-363BFC156D07}" destId="{DE66CC95-1D95-4E97-BBD2-4EAA08EAA64F}" srcOrd="1" destOrd="0" parTransId="{82CCD9E0-4559-4DED-B218-7A376F1F2B38}" sibTransId="{DB2CCDD9-DC5C-4391-A146-7D60F8618720}"/>
    <dgm:cxn modelId="{FD112927-CFFA-4EEF-9721-4433DE0229A1}" type="presOf" srcId="{59BAF30D-7F6D-46A7-9730-8CF9B7FF455A}" destId="{EEB3C97D-60A8-47E8-B940-67E2D52E10DE}" srcOrd="0" destOrd="0" presId="urn:microsoft.com/office/officeart/2005/8/layout/hierarchy1"/>
    <dgm:cxn modelId="{584D7330-5B77-4272-BB38-C99B7C05E288}" type="presOf" srcId="{B89E3C0F-5327-40CE-8419-775A9581A01F}" destId="{1ED18195-9BBD-4709-B17B-28814005E718}" srcOrd="0" destOrd="0" presId="urn:microsoft.com/office/officeart/2005/8/layout/hierarchy1"/>
    <dgm:cxn modelId="{B5A4EB5B-A6A4-441F-9071-79D3F4158ABB}" srcId="{94B90960-72F4-4E3A-A9DF-CA88834C6202}" destId="{B02C8959-773F-4EAF-8AB8-D2B859C0FF41}" srcOrd="1" destOrd="0" parTransId="{74287ACB-39D4-478A-A354-CF574C2CBB16}" sibTransId="{2EFC8BE6-A771-455F-8D12-3880B2751F28}"/>
    <dgm:cxn modelId="{FA028765-12D9-4CB2-96C8-9394D176647F}" type="presOf" srcId="{82CCD9E0-4559-4DED-B218-7A376F1F2B38}" destId="{EBCCC4D2-E953-4509-9CA3-CFEAA9F05D43}" srcOrd="0" destOrd="0" presId="urn:microsoft.com/office/officeart/2005/8/layout/hierarchy1"/>
    <dgm:cxn modelId="{8379466F-6FE9-4002-87CC-102FC7F8DB5B}" type="presOf" srcId="{15898255-D17D-4252-A277-C971B9CBE51E}" destId="{B3AB6275-5109-4845-BA11-76D6D227495D}" srcOrd="0" destOrd="0" presId="urn:microsoft.com/office/officeart/2005/8/layout/hierarchy1"/>
    <dgm:cxn modelId="{FE902575-038D-44EF-9C9D-75456556C950}" type="presOf" srcId="{808A67CD-F7FA-4C4C-A1DA-8213803D3D35}" destId="{EAA2F6AD-341F-4EF8-90ED-99E86BA5FED2}" srcOrd="0" destOrd="0" presId="urn:microsoft.com/office/officeart/2005/8/layout/hierarchy1"/>
    <dgm:cxn modelId="{CE796256-4F1E-4856-B916-50C477499076}" srcId="{94B90960-72F4-4E3A-A9DF-CA88834C6202}" destId="{5FA398D5-846C-42E5-A1F1-363BFC156D07}" srcOrd="0" destOrd="0" parTransId="{15898255-D17D-4252-A277-C971B9CBE51E}" sibTransId="{DA676569-77F9-4728-A5A0-4202CD0686D4}"/>
    <dgm:cxn modelId="{B2D5DE56-0D05-474F-A946-4C9D5D95BDFE}" type="presOf" srcId="{E8DBC232-B1F1-40BC-9539-E2FD463FB769}" destId="{40EB6D33-A591-4553-9F67-E6298881EC43}" srcOrd="0" destOrd="0" presId="urn:microsoft.com/office/officeart/2005/8/layout/hierarchy1"/>
    <dgm:cxn modelId="{2CB3BE80-653D-49BB-97E9-1418C819D131}" type="presOf" srcId="{DF36A8E1-7F8C-4C0A-9793-158A91F53845}" destId="{30F8D9B5-6D3B-430E-8F2D-4450EAB5F2F4}" srcOrd="0" destOrd="0" presId="urn:microsoft.com/office/officeart/2005/8/layout/hierarchy1"/>
    <dgm:cxn modelId="{0A713B92-6B2E-4143-8204-C4B405076AC0}" type="presOf" srcId="{DE66CC95-1D95-4E97-BBD2-4EAA08EAA64F}" destId="{F201565A-0E7B-497F-9EA9-289CEE3794BC}" srcOrd="0" destOrd="0" presId="urn:microsoft.com/office/officeart/2005/8/layout/hierarchy1"/>
    <dgm:cxn modelId="{105E85A5-9C94-45C6-8A08-FBAD66EDD6C7}" srcId="{5FA398D5-846C-42E5-A1F1-363BFC156D07}" destId="{B89E3C0F-5327-40CE-8419-775A9581A01F}" srcOrd="0" destOrd="0" parTransId="{808A67CD-F7FA-4C4C-A1DA-8213803D3D35}" sibTransId="{10E9222D-6460-40CD-897A-E3B281738F01}"/>
    <dgm:cxn modelId="{028014CA-67E4-4351-B44C-D47E8267C4CB}" srcId="{59BAF30D-7F6D-46A7-9730-8CF9B7FF455A}" destId="{94B90960-72F4-4E3A-A9DF-CA88834C6202}" srcOrd="0" destOrd="0" parTransId="{3A635FDE-DA3A-410D-AE76-07627815C5E1}" sibTransId="{F713F8BF-E7AA-48C7-9088-9B892BA62AAA}"/>
    <dgm:cxn modelId="{7624D5D1-5951-440E-8D40-1B4CA0780948}" type="presOf" srcId="{94B90960-72F4-4E3A-A9DF-CA88834C6202}" destId="{BA030B88-6520-4453-A1CB-A85E32B69A60}" srcOrd="0" destOrd="0" presId="urn:microsoft.com/office/officeart/2005/8/layout/hierarchy1"/>
    <dgm:cxn modelId="{B863FAD2-2623-4399-9856-307100FD9433}" type="presOf" srcId="{5FA398D5-846C-42E5-A1F1-363BFC156D07}" destId="{06A84F54-7B19-45E6-B45F-F9F9D54DC709}" srcOrd="0" destOrd="0" presId="urn:microsoft.com/office/officeart/2005/8/layout/hierarchy1"/>
    <dgm:cxn modelId="{7E93C6D4-98DD-4B37-9C95-5A163A0FBC90}" type="presOf" srcId="{B02C8959-773F-4EAF-8AB8-D2B859C0FF41}" destId="{7D1F3B5C-2501-4FD9-93ED-4E696557C1E0}" srcOrd="0" destOrd="0" presId="urn:microsoft.com/office/officeart/2005/8/layout/hierarchy1"/>
    <dgm:cxn modelId="{895CB2D7-9118-4B03-B59F-C7FE592C6B7C}" type="presOf" srcId="{74287ACB-39D4-478A-A354-CF574C2CBB16}" destId="{024D03C2-CC11-4F96-93B9-28AA2C1F05C2}" srcOrd="0" destOrd="0" presId="urn:microsoft.com/office/officeart/2005/8/layout/hierarchy1"/>
    <dgm:cxn modelId="{C7A1D2F1-A71D-4DEB-9A02-5F4FB26E3D13}" srcId="{94B90960-72F4-4E3A-A9DF-CA88834C6202}" destId="{DF36A8E1-7F8C-4C0A-9793-158A91F53845}" srcOrd="2" destOrd="0" parTransId="{E8DBC232-B1F1-40BC-9539-E2FD463FB769}" sibTransId="{8780966E-80A9-4234-AF68-9FAC4753512D}"/>
    <dgm:cxn modelId="{1F54535C-D1B4-4B2C-BBA3-549B00F3A4E3}" type="presParOf" srcId="{EEB3C97D-60A8-47E8-B940-67E2D52E10DE}" destId="{17D72D8B-0E8A-483E-9F15-E857A2562EDE}" srcOrd="0" destOrd="0" presId="urn:microsoft.com/office/officeart/2005/8/layout/hierarchy1"/>
    <dgm:cxn modelId="{9058B85B-C1F0-45F1-8C0C-61B9A764B117}" type="presParOf" srcId="{17D72D8B-0E8A-483E-9F15-E857A2562EDE}" destId="{1451AFB0-108E-4F49-A568-B727BE814536}" srcOrd="0" destOrd="0" presId="urn:microsoft.com/office/officeart/2005/8/layout/hierarchy1"/>
    <dgm:cxn modelId="{8E839C85-FC8F-4E50-918F-41D8F98F5AFE}" type="presParOf" srcId="{1451AFB0-108E-4F49-A568-B727BE814536}" destId="{F5499508-046E-4AE0-9236-7F6CA568B9C5}" srcOrd="0" destOrd="0" presId="urn:microsoft.com/office/officeart/2005/8/layout/hierarchy1"/>
    <dgm:cxn modelId="{FAF5F379-2A73-4184-BF05-20990A72EC69}" type="presParOf" srcId="{1451AFB0-108E-4F49-A568-B727BE814536}" destId="{BA030B88-6520-4453-A1CB-A85E32B69A60}" srcOrd="1" destOrd="0" presId="urn:microsoft.com/office/officeart/2005/8/layout/hierarchy1"/>
    <dgm:cxn modelId="{BB8794B0-4B2E-4A5E-AB43-B2A838C2566C}" type="presParOf" srcId="{17D72D8B-0E8A-483E-9F15-E857A2562EDE}" destId="{FC6E999B-80E5-4BDD-9A69-C8FB3E4278D8}" srcOrd="1" destOrd="0" presId="urn:microsoft.com/office/officeart/2005/8/layout/hierarchy1"/>
    <dgm:cxn modelId="{EA813174-5481-478B-8450-82AD6C311814}" type="presParOf" srcId="{FC6E999B-80E5-4BDD-9A69-C8FB3E4278D8}" destId="{B3AB6275-5109-4845-BA11-76D6D227495D}" srcOrd="0" destOrd="0" presId="urn:microsoft.com/office/officeart/2005/8/layout/hierarchy1"/>
    <dgm:cxn modelId="{89C6FCAC-B8C6-408D-B3D6-8EE060EEB57C}" type="presParOf" srcId="{FC6E999B-80E5-4BDD-9A69-C8FB3E4278D8}" destId="{25347531-F5A3-41C0-A1D5-AE25C10D724D}" srcOrd="1" destOrd="0" presId="urn:microsoft.com/office/officeart/2005/8/layout/hierarchy1"/>
    <dgm:cxn modelId="{5408A3B7-386D-4E45-8BFE-573E00A01AD8}" type="presParOf" srcId="{25347531-F5A3-41C0-A1D5-AE25C10D724D}" destId="{6665A4D4-EC55-4404-A781-442FB8D49DFA}" srcOrd="0" destOrd="0" presId="urn:microsoft.com/office/officeart/2005/8/layout/hierarchy1"/>
    <dgm:cxn modelId="{54AA2C95-5AC9-4F27-A729-93E388557113}" type="presParOf" srcId="{6665A4D4-EC55-4404-A781-442FB8D49DFA}" destId="{214125FD-F1D6-49D5-9EE6-1405809DEC02}" srcOrd="0" destOrd="0" presId="urn:microsoft.com/office/officeart/2005/8/layout/hierarchy1"/>
    <dgm:cxn modelId="{044C7C20-6BE0-4003-A814-F679BA9AFA2E}" type="presParOf" srcId="{6665A4D4-EC55-4404-A781-442FB8D49DFA}" destId="{06A84F54-7B19-45E6-B45F-F9F9D54DC709}" srcOrd="1" destOrd="0" presId="urn:microsoft.com/office/officeart/2005/8/layout/hierarchy1"/>
    <dgm:cxn modelId="{3DFC9639-0B7E-4260-8C29-67DA673B88E8}" type="presParOf" srcId="{25347531-F5A3-41C0-A1D5-AE25C10D724D}" destId="{F368D047-F084-44D0-9B0F-79631D2E08FE}" srcOrd="1" destOrd="0" presId="urn:microsoft.com/office/officeart/2005/8/layout/hierarchy1"/>
    <dgm:cxn modelId="{AE25E2F0-4D17-4D24-9B94-812B14E14D83}" type="presParOf" srcId="{F368D047-F084-44D0-9B0F-79631D2E08FE}" destId="{EAA2F6AD-341F-4EF8-90ED-99E86BA5FED2}" srcOrd="0" destOrd="0" presId="urn:microsoft.com/office/officeart/2005/8/layout/hierarchy1"/>
    <dgm:cxn modelId="{61A55C37-0560-4758-973D-A943480A1A9B}" type="presParOf" srcId="{F368D047-F084-44D0-9B0F-79631D2E08FE}" destId="{5B344CB3-B110-4BC0-B417-282CB6C228A8}" srcOrd="1" destOrd="0" presId="urn:microsoft.com/office/officeart/2005/8/layout/hierarchy1"/>
    <dgm:cxn modelId="{0C8D8395-B07A-4A03-BA25-586965601225}" type="presParOf" srcId="{5B344CB3-B110-4BC0-B417-282CB6C228A8}" destId="{98ADB963-8885-4660-B98D-F3FC8F6C8520}" srcOrd="0" destOrd="0" presId="urn:microsoft.com/office/officeart/2005/8/layout/hierarchy1"/>
    <dgm:cxn modelId="{B798C728-D692-4C5D-A393-2B6F1F976A48}" type="presParOf" srcId="{98ADB963-8885-4660-B98D-F3FC8F6C8520}" destId="{73663E2A-ECF5-4924-9BFC-F72E2200CB03}" srcOrd="0" destOrd="0" presId="urn:microsoft.com/office/officeart/2005/8/layout/hierarchy1"/>
    <dgm:cxn modelId="{5BDCAA5C-CFAD-4374-A352-1839592BEDCD}" type="presParOf" srcId="{98ADB963-8885-4660-B98D-F3FC8F6C8520}" destId="{1ED18195-9BBD-4709-B17B-28814005E718}" srcOrd="1" destOrd="0" presId="urn:microsoft.com/office/officeart/2005/8/layout/hierarchy1"/>
    <dgm:cxn modelId="{FD921E9A-3860-481A-AB62-2636C67E8D16}" type="presParOf" srcId="{5B344CB3-B110-4BC0-B417-282CB6C228A8}" destId="{F71EFE68-43C2-4569-BEC2-72F54194BADF}" srcOrd="1" destOrd="0" presId="urn:microsoft.com/office/officeart/2005/8/layout/hierarchy1"/>
    <dgm:cxn modelId="{14341AEC-5972-4BDC-ADB5-EB88A3EFC5BC}" type="presParOf" srcId="{F368D047-F084-44D0-9B0F-79631D2E08FE}" destId="{EBCCC4D2-E953-4509-9CA3-CFEAA9F05D43}" srcOrd="2" destOrd="0" presId="urn:microsoft.com/office/officeart/2005/8/layout/hierarchy1"/>
    <dgm:cxn modelId="{D97FC355-ADDF-4597-8818-9315C0815471}" type="presParOf" srcId="{F368D047-F084-44D0-9B0F-79631D2E08FE}" destId="{7665FE07-EC76-4CFE-9E6A-323E0B56B0E8}" srcOrd="3" destOrd="0" presId="urn:microsoft.com/office/officeart/2005/8/layout/hierarchy1"/>
    <dgm:cxn modelId="{FA71FD78-C1B7-447B-8AEC-5AE139CE9351}" type="presParOf" srcId="{7665FE07-EC76-4CFE-9E6A-323E0B56B0E8}" destId="{358565F9-2E64-4957-AC98-CC818317B2F7}" srcOrd="0" destOrd="0" presId="urn:microsoft.com/office/officeart/2005/8/layout/hierarchy1"/>
    <dgm:cxn modelId="{0AB13ABE-7DE0-47D1-A1C0-BA08C40A75F2}" type="presParOf" srcId="{358565F9-2E64-4957-AC98-CC818317B2F7}" destId="{9586C6E0-026D-4F51-AFF6-4E596228691E}" srcOrd="0" destOrd="0" presId="urn:microsoft.com/office/officeart/2005/8/layout/hierarchy1"/>
    <dgm:cxn modelId="{C173462F-F70D-40E1-BCD5-DB9200E3C644}" type="presParOf" srcId="{358565F9-2E64-4957-AC98-CC818317B2F7}" destId="{F201565A-0E7B-497F-9EA9-289CEE3794BC}" srcOrd="1" destOrd="0" presId="urn:microsoft.com/office/officeart/2005/8/layout/hierarchy1"/>
    <dgm:cxn modelId="{3F7F5364-7F74-4DCD-A378-BFFE7786745A}" type="presParOf" srcId="{7665FE07-EC76-4CFE-9E6A-323E0B56B0E8}" destId="{9B11A325-AF25-4C1A-9959-F37B80FB2F5A}" srcOrd="1" destOrd="0" presId="urn:microsoft.com/office/officeart/2005/8/layout/hierarchy1"/>
    <dgm:cxn modelId="{667BC74F-582F-4E58-9908-FE7E8B723957}" type="presParOf" srcId="{FC6E999B-80E5-4BDD-9A69-C8FB3E4278D8}" destId="{024D03C2-CC11-4F96-93B9-28AA2C1F05C2}" srcOrd="2" destOrd="0" presId="urn:microsoft.com/office/officeart/2005/8/layout/hierarchy1"/>
    <dgm:cxn modelId="{E7A3B61B-A97C-4B70-A6F2-AD9E9C05FEE1}" type="presParOf" srcId="{FC6E999B-80E5-4BDD-9A69-C8FB3E4278D8}" destId="{A8942C16-4728-4A92-8D51-58FBAA12A944}" srcOrd="3" destOrd="0" presId="urn:microsoft.com/office/officeart/2005/8/layout/hierarchy1"/>
    <dgm:cxn modelId="{969C009D-DB8B-4325-9CA8-4F63F2E241B5}" type="presParOf" srcId="{A8942C16-4728-4A92-8D51-58FBAA12A944}" destId="{4FF6C489-D9D7-44A4-A226-0AA212699F67}" srcOrd="0" destOrd="0" presId="urn:microsoft.com/office/officeart/2005/8/layout/hierarchy1"/>
    <dgm:cxn modelId="{80D94DE4-968A-4E06-9BBC-9D27154BABF1}" type="presParOf" srcId="{4FF6C489-D9D7-44A4-A226-0AA212699F67}" destId="{0BF73CE5-171A-41C0-91E9-ED47D88D46C1}" srcOrd="0" destOrd="0" presId="urn:microsoft.com/office/officeart/2005/8/layout/hierarchy1"/>
    <dgm:cxn modelId="{F5F9F46C-4D2E-4417-84C8-5780C78B2A7C}" type="presParOf" srcId="{4FF6C489-D9D7-44A4-A226-0AA212699F67}" destId="{7D1F3B5C-2501-4FD9-93ED-4E696557C1E0}" srcOrd="1" destOrd="0" presId="urn:microsoft.com/office/officeart/2005/8/layout/hierarchy1"/>
    <dgm:cxn modelId="{AFF2B58E-C7E0-4CDD-85C0-0C6C429E878B}" type="presParOf" srcId="{A8942C16-4728-4A92-8D51-58FBAA12A944}" destId="{ABF9F5AA-B675-4739-8E48-605064309F91}" srcOrd="1" destOrd="0" presId="urn:microsoft.com/office/officeart/2005/8/layout/hierarchy1"/>
    <dgm:cxn modelId="{7323035F-14D4-43B1-B434-58056798E669}" type="presParOf" srcId="{FC6E999B-80E5-4BDD-9A69-C8FB3E4278D8}" destId="{40EB6D33-A591-4553-9F67-E6298881EC43}" srcOrd="4" destOrd="0" presId="urn:microsoft.com/office/officeart/2005/8/layout/hierarchy1"/>
    <dgm:cxn modelId="{D4447A3F-C19E-48A4-BEE4-54584690ED2C}" type="presParOf" srcId="{FC6E999B-80E5-4BDD-9A69-C8FB3E4278D8}" destId="{94B3EFE1-5D64-4893-99BE-C575A9E29811}" srcOrd="5" destOrd="0" presId="urn:microsoft.com/office/officeart/2005/8/layout/hierarchy1"/>
    <dgm:cxn modelId="{8FE7965F-6761-47ED-9E75-D0B58E1E672F}" type="presParOf" srcId="{94B3EFE1-5D64-4893-99BE-C575A9E29811}" destId="{24566B1D-B796-4708-BC01-8D9F8AC99E1F}" srcOrd="0" destOrd="0" presId="urn:microsoft.com/office/officeart/2005/8/layout/hierarchy1"/>
    <dgm:cxn modelId="{B3D21B69-3BC2-4E36-A4E3-C54EE80791D1}" type="presParOf" srcId="{24566B1D-B796-4708-BC01-8D9F8AC99E1F}" destId="{987646A6-CF18-440F-908E-7DD1A73B6D14}" srcOrd="0" destOrd="0" presId="urn:microsoft.com/office/officeart/2005/8/layout/hierarchy1"/>
    <dgm:cxn modelId="{88F5FAFC-6DE0-4E57-8538-8628B23672A8}" type="presParOf" srcId="{24566B1D-B796-4708-BC01-8D9F8AC99E1F}" destId="{30F8D9B5-6D3B-430E-8F2D-4450EAB5F2F4}" srcOrd="1" destOrd="0" presId="urn:microsoft.com/office/officeart/2005/8/layout/hierarchy1"/>
    <dgm:cxn modelId="{BF89574C-06D7-4289-8895-32CBE033A61E}" type="presParOf" srcId="{94B3EFE1-5D64-4893-99BE-C575A9E29811}" destId="{EE49C545-6BFA-4CE7-9A38-14C6F7FF3FFD}"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9BAF30D-7F6D-46A7-9730-8CF9B7FF455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94B90960-72F4-4E3A-A9DF-CA88834C6202}">
      <dgm:prSet phldrT="[Text]"/>
      <dgm:spPr>
        <a:solidFill>
          <a:srgbClr val="7030A0">
            <a:alpha val="90000"/>
          </a:srgbClr>
        </a:solidFill>
      </dgm:spPr>
      <dgm:t>
        <a:bodyPr/>
        <a:lstStyle/>
        <a:p>
          <a:r>
            <a:rPr lang="en-US" dirty="0">
              <a:solidFill>
                <a:schemeClr val="bg1"/>
              </a:solidFill>
            </a:rPr>
            <a:t>Federal Acquisition Regulation (FAR)</a:t>
          </a:r>
        </a:p>
      </dgm:t>
    </dgm:pt>
    <dgm:pt modelId="{3A635FDE-DA3A-410D-AE76-07627815C5E1}" type="parTrans" cxnId="{028014CA-67E4-4351-B44C-D47E8267C4CB}">
      <dgm:prSet/>
      <dgm:spPr/>
      <dgm:t>
        <a:bodyPr/>
        <a:lstStyle/>
        <a:p>
          <a:endParaRPr lang="en-US"/>
        </a:p>
      </dgm:t>
    </dgm:pt>
    <dgm:pt modelId="{F713F8BF-E7AA-48C7-9088-9B892BA62AAA}" type="sibTrans" cxnId="{028014CA-67E4-4351-B44C-D47E8267C4CB}">
      <dgm:prSet/>
      <dgm:spPr/>
      <dgm:t>
        <a:bodyPr/>
        <a:lstStyle/>
        <a:p>
          <a:endParaRPr lang="en-US"/>
        </a:p>
      </dgm:t>
    </dgm:pt>
    <dgm:pt modelId="{5FA398D5-846C-42E5-A1F1-363BFC156D07}">
      <dgm:prSet phldrT="[Text]"/>
      <dgm:spPr>
        <a:solidFill>
          <a:srgbClr val="00B050">
            <a:alpha val="90000"/>
          </a:srgbClr>
        </a:solidFill>
      </dgm:spPr>
      <dgm:t>
        <a:bodyPr/>
        <a:lstStyle/>
        <a:p>
          <a:r>
            <a:rPr lang="en-US" dirty="0">
              <a:solidFill>
                <a:schemeClr val="tx1"/>
              </a:solidFill>
            </a:rPr>
            <a:t>Defense Federal Acquisition Regulation Supplement</a:t>
          </a:r>
        </a:p>
      </dgm:t>
    </dgm:pt>
    <dgm:pt modelId="{15898255-D17D-4252-A277-C971B9CBE51E}" type="parTrans" cxnId="{CE796256-4F1E-4856-B916-50C477499076}">
      <dgm:prSet/>
      <dgm:spPr/>
      <dgm:t>
        <a:bodyPr/>
        <a:lstStyle/>
        <a:p>
          <a:endParaRPr lang="en-US"/>
        </a:p>
      </dgm:t>
    </dgm:pt>
    <dgm:pt modelId="{DA676569-77F9-4728-A5A0-4202CD0686D4}" type="sibTrans" cxnId="{CE796256-4F1E-4856-B916-50C477499076}">
      <dgm:prSet/>
      <dgm:spPr/>
      <dgm:t>
        <a:bodyPr/>
        <a:lstStyle/>
        <a:p>
          <a:endParaRPr lang="en-US"/>
        </a:p>
      </dgm:t>
    </dgm:pt>
    <dgm:pt modelId="{B89E3C0F-5327-40CE-8419-775A9581A01F}">
      <dgm:prSet phldrT="[Text]"/>
      <dgm:spPr>
        <a:solidFill>
          <a:srgbClr val="00B050">
            <a:alpha val="90000"/>
          </a:srgbClr>
        </a:solidFill>
      </dgm:spPr>
      <dgm:t>
        <a:bodyPr/>
        <a:lstStyle/>
        <a:p>
          <a:r>
            <a:rPr lang="en-US" dirty="0">
              <a:solidFill>
                <a:schemeClr val="tx1"/>
              </a:solidFill>
            </a:rPr>
            <a:t>Defense Logistics Agency Supplement</a:t>
          </a:r>
        </a:p>
      </dgm:t>
    </dgm:pt>
    <dgm:pt modelId="{808A67CD-F7FA-4C4C-A1DA-8213803D3D35}" type="parTrans" cxnId="{105E85A5-9C94-45C6-8A08-FBAD66EDD6C7}">
      <dgm:prSet/>
      <dgm:spPr/>
      <dgm:t>
        <a:bodyPr/>
        <a:lstStyle/>
        <a:p>
          <a:endParaRPr lang="en-US"/>
        </a:p>
      </dgm:t>
    </dgm:pt>
    <dgm:pt modelId="{10E9222D-6460-40CD-897A-E3B281738F01}" type="sibTrans" cxnId="{105E85A5-9C94-45C6-8A08-FBAD66EDD6C7}">
      <dgm:prSet/>
      <dgm:spPr/>
      <dgm:t>
        <a:bodyPr/>
        <a:lstStyle/>
        <a:p>
          <a:endParaRPr lang="en-US"/>
        </a:p>
      </dgm:t>
    </dgm:pt>
    <dgm:pt modelId="{DE66CC95-1D95-4E97-BBD2-4EAA08EAA64F}">
      <dgm:prSet phldrT="[Text]"/>
      <dgm:spPr>
        <a:solidFill>
          <a:srgbClr val="00B050">
            <a:alpha val="90000"/>
          </a:srgbClr>
        </a:solidFill>
      </dgm:spPr>
      <dgm:t>
        <a:bodyPr/>
        <a:lstStyle/>
        <a:p>
          <a:r>
            <a:rPr lang="en-US" dirty="0">
              <a:solidFill>
                <a:schemeClr val="tx1"/>
              </a:solidFill>
            </a:rPr>
            <a:t>Other Defense </a:t>
          </a:r>
          <a:r>
            <a:rPr lang="en-US" dirty="0" err="1">
              <a:solidFill>
                <a:schemeClr val="tx1"/>
              </a:solidFill>
            </a:rPr>
            <a:t>Subagency</a:t>
          </a:r>
          <a:r>
            <a:rPr lang="en-US" dirty="0">
              <a:solidFill>
                <a:schemeClr val="tx1"/>
              </a:solidFill>
            </a:rPr>
            <a:t> Supplements</a:t>
          </a:r>
        </a:p>
      </dgm:t>
    </dgm:pt>
    <dgm:pt modelId="{82CCD9E0-4559-4DED-B218-7A376F1F2B38}" type="parTrans" cxnId="{9E3B2C1A-A467-4578-B786-6CAD66D7C12D}">
      <dgm:prSet/>
      <dgm:spPr/>
      <dgm:t>
        <a:bodyPr/>
        <a:lstStyle/>
        <a:p>
          <a:endParaRPr lang="en-US"/>
        </a:p>
      </dgm:t>
    </dgm:pt>
    <dgm:pt modelId="{DB2CCDD9-DC5C-4391-A146-7D60F8618720}" type="sibTrans" cxnId="{9E3B2C1A-A467-4578-B786-6CAD66D7C12D}">
      <dgm:prSet/>
      <dgm:spPr/>
      <dgm:t>
        <a:bodyPr/>
        <a:lstStyle/>
        <a:p>
          <a:endParaRPr lang="en-US"/>
        </a:p>
      </dgm:t>
    </dgm:pt>
    <dgm:pt modelId="{DF36A8E1-7F8C-4C0A-9793-158A91F53845}">
      <dgm:prSet phldrT="[Text]"/>
      <dgm:spPr>
        <a:solidFill>
          <a:srgbClr val="C00000">
            <a:alpha val="90000"/>
          </a:srgbClr>
        </a:solidFill>
      </dgm:spPr>
      <dgm:t>
        <a:bodyPr/>
        <a:lstStyle/>
        <a:p>
          <a:r>
            <a:rPr lang="en-US" dirty="0">
              <a:solidFill>
                <a:schemeClr val="tx1"/>
              </a:solidFill>
            </a:rPr>
            <a:t>Civilian Agency Supplement</a:t>
          </a:r>
        </a:p>
      </dgm:t>
    </dgm:pt>
    <dgm:pt modelId="{E8DBC232-B1F1-40BC-9539-E2FD463FB769}" type="parTrans" cxnId="{C7A1D2F1-A71D-4DEB-9A02-5F4FB26E3D13}">
      <dgm:prSet/>
      <dgm:spPr/>
      <dgm:t>
        <a:bodyPr/>
        <a:lstStyle/>
        <a:p>
          <a:endParaRPr lang="en-US"/>
        </a:p>
      </dgm:t>
    </dgm:pt>
    <dgm:pt modelId="{8780966E-80A9-4234-AF68-9FAC4753512D}" type="sibTrans" cxnId="{C7A1D2F1-A71D-4DEB-9A02-5F4FB26E3D13}">
      <dgm:prSet/>
      <dgm:spPr/>
      <dgm:t>
        <a:bodyPr/>
        <a:lstStyle/>
        <a:p>
          <a:endParaRPr lang="en-US"/>
        </a:p>
      </dgm:t>
    </dgm:pt>
    <dgm:pt modelId="{B02C8959-773F-4EAF-8AB8-D2B859C0FF41}">
      <dgm:prSet/>
      <dgm:spPr>
        <a:solidFill>
          <a:srgbClr val="CC6600">
            <a:alpha val="90000"/>
          </a:srgbClr>
        </a:solidFill>
      </dgm:spPr>
      <dgm:t>
        <a:bodyPr/>
        <a:lstStyle/>
        <a:p>
          <a:r>
            <a:rPr lang="en-US" dirty="0">
              <a:solidFill>
                <a:schemeClr val="tx1"/>
              </a:solidFill>
            </a:rPr>
            <a:t>Civilian Agency Supplement</a:t>
          </a:r>
        </a:p>
      </dgm:t>
    </dgm:pt>
    <dgm:pt modelId="{74287ACB-39D4-478A-A354-CF574C2CBB16}" type="parTrans" cxnId="{B5A4EB5B-A6A4-441F-9071-79D3F4158ABB}">
      <dgm:prSet/>
      <dgm:spPr/>
      <dgm:t>
        <a:bodyPr/>
        <a:lstStyle/>
        <a:p>
          <a:endParaRPr lang="en-US"/>
        </a:p>
      </dgm:t>
    </dgm:pt>
    <dgm:pt modelId="{2EFC8BE6-A771-455F-8D12-3880B2751F28}" type="sibTrans" cxnId="{B5A4EB5B-A6A4-441F-9071-79D3F4158ABB}">
      <dgm:prSet/>
      <dgm:spPr/>
      <dgm:t>
        <a:bodyPr/>
        <a:lstStyle/>
        <a:p>
          <a:endParaRPr lang="en-US"/>
        </a:p>
      </dgm:t>
    </dgm:pt>
    <dgm:pt modelId="{EEB3C97D-60A8-47E8-B940-67E2D52E10DE}" type="pres">
      <dgm:prSet presAssocID="{59BAF30D-7F6D-46A7-9730-8CF9B7FF455A}" presName="hierChild1" presStyleCnt="0">
        <dgm:presLayoutVars>
          <dgm:chPref val="1"/>
          <dgm:dir/>
          <dgm:animOne val="branch"/>
          <dgm:animLvl val="lvl"/>
          <dgm:resizeHandles/>
        </dgm:presLayoutVars>
      </dgm:prSet>
      <dgm:spPr/>
    </dgm:pt>
    <dgm:pt modelId="{17D72D8B-0E8A-483E-9F15-E857A2562EDE}" type="pres">
      <dgm:prSet presAssocID="{94B90960-72F4-4E3A-A9DF-CA88834C6202}" presName="hierRoot1" presStyleCnt="0"/>
      <dgm:spPr/>
    </dgm:pt>
    <dgm:pt modelId="{1451AFB0-108E-4F49-A568-B727BE814536}" type="pres">
      <dgm:prSet presAssocID="{94B90960-72F4-4E3A-A9DF-CA88834C6202}" presName="composite" presStyleCnt="0"/>
      <dgm:spPr/>
    </dgm:pt>
    <dgm:pt modelId="{F5499508-046E-4AE0-9236-7F6CA568B9C5}" type="pres">
      <dgm:prSet presAssocID="{94B90960-72F4-4E3A-A9DF-CA88834C6202}" presName="background" presStyleLbl="node0" presStyleIdx="0" presStyleCnt="1"/>
      <dgm:spPr/>
    </dgm:pt>
    <dgm:pt modelId="{BA030B88-6520-4453-A1CB-A85E32B69A60}" type="pres">
      <dgm:prSet presAssocID="{94B90960-72F4-4E3A-A9DF-CA88834C6202}" presName="text" presStyleLbl="fgAcc0" presStyleIdx="0" presStyleCnt="1">
        <dgm:presLayoutVars>
          <dgm:chPref val="3"/>
        </dgm:presLayoutVars>
      </dgm:prSet>
      <dgm:spPr/>
    </dgm:pt>
    <dgm:pt modelId="{FC6E999B-80E5-4BDD-9A69-C8FB3E4278D8}" type="pres">
      <dgm:prSet presAssocID="{94B90960-72F4-4E3A-A9DF-CA88834C6202}" presName="hierChild2" presStyleCnt="0"/>
      <dgm:spPr/>
    </dgm:pt>
    <dgm:pt modelId="{B3AB6275-5109-4845-BA11-76D6D227495D}" type="pres">
      <dgm:prSet presAssocID="{15898255-D17D-4252-A277-C971B9CBE51E}" presName="Name10" presStyleLbl="parChTrans1D2" presStyleIdx="0" presStyleCnt="3"/>
      <dgm:spPr/>
    </dgm:pt>
    <dgm:pt modelId="{25347531-F5A3-41C0-A1D5-AE25C10D724D}" type="pres">
      <dgm:prSet presAssocID="{5FA398D5-846C-42E5-A1F1-363BFC156D07}" presName="hierRoot2" presStyleCnt="0"/>
      <dgm:spPr/>
    </dgm:pt>
    <dgm:pt modelId="{6665A4D4-EC55-4404-A781-442FB8D49DFA}" type="pres">
      <dgm:prSet presAssocID="{5FA398D5-846C-42E5-A1F1-363BFC156D07}" presName="composite2" presStyleCnt="0"/>
      <dgm:spPr/>
    </dgm:pt>
    <dgm:pt modelId="{214125FD-F1D6-49D5-9EE6-1405809DEC02}" type="pres">
      <dgm:prSet presAssocID="{5FA398D5-846C-42E5-A1F1-363BFC156D07}" presName="background2" presStyleLbl="node2" presStyleIdx="0" presStyleCnt="3"/>
      <dgm:spPr/>
    </dgm:pt>
    <dgm:pt modelId="{06A84F54-7B19-45E6-B45F-F9F9D54DC709}" type="pres">
      <dgm:prSet presAssocID="{5FA398D5-846C-42E5-A1F1-363BFC156D07}" presName="text2" presStyleLbl="fgAcc2" presStyleIdx="0" presStyleCnt="3">
        <dgm:presLayoutVars>
          <dgm:chPref val="3"/>
        </dgm:presLayoutVars>
      </dgm:prSet>
      <dgm:spPr/>
    </dgm:pt>
    <dgm:pt modelId="{F368D047-F084-44D0-9B0F-79631D2E08FE}" type="pres">
      <dgm:prSet presAssocID="{5FA398D5-846C-42E5-A1F1-363BFC156D07}" presName="hierChild3" presStyleCnt="0"/>
      <dgm:spPr/>
    </dgm:pt>
    <dgm:pt modelId="{EAA2F6AD-341F-4EF8-90ED-99E86BA5FED2}" type="pres">
      <dgm:prSet presAssocID="{808A67CD-F7FA-4C4C-A1DA-8213803D3D35}" presName="Name17" presStyleLbl="parChTrans1D3" presStyleIdx="0" presStyleCnt="2"/>
      <dgm:spPr/>
    </dgm:pt>
    <dgm:pt modelId="{5B344CB3-B110-4BC0-B417-282CB6C228A8}" type="pres">
      <dgm:prSet presAssocID="{B89E3C0F-5327-40CE-8419-775A9581A01F}" presName="hierRoot3" presStyleCnt="0"/>
      <dgm:spPr/>
    </dgm:pt>
    <dgm:pt modelId="{98ADB963-8885-4660-B98D-F3FC8F6C8520}" type="pres">
      <dgm:prSet presAssocID="{B89E3C0F-5327-40CE-8419-775A9581A01F}" presName="composite3" presStyleCnt="0"/>
      <dgm:spPr/>
    </dgm:pt>
    <dgm:pt modelId="{73663E2A-ECF5-4924-9BFC-F72E2200CB03}" type="pres">
      <dgm:prSet presAssocID="{B89E3C0F-5327-40CE-8419-775A9581A01F}" presName="background3" presStyleLbl="node3" presStyleIdx="0" presStyleCnt="2"/>
      <dgm:spPr/>
    </dgm:pt>
    <dgm:pt modelId="{1ED18195-9BBD-4709-B17B-28814005E718}" type="pres">
      <dgm:prSet presAssocID="{B89E3C0F-5327-40CE-8419-775A9581A01F}" presName="text3" presStyleLbl="fgAcc3" presStyleIdx="0" presStyleCnt="2">
        <dgm:presLayoutVars>
          <dgm:chPref val="3"/>
        </dgm:presLayoutVars>
      </dgm:prSet>
      <dgm:spPr/>
    </dgm:pt>
    <dgm:pt modelId="{F71EFE68-43C2-4569-BEC2-72F54194BADF}" type="pres">
      <dgm:prSet presAssocID="{B89E3C0F-5327-40CE-8419-775A9581A01F}" presName="hierChild4" presStyleCnt="0"/>
      <dgm:spPr/>
    </dgm:pt>
    <dgm:pt modelId="{EBCCC4D2-E953-4509-9CA3-CFEAA9F05D43}" type="pres">
      <dgm:prSet presAssocID="{82CCD9E0-4559-4DED-B218-7A376F1F2B38}" presName="Name17" presStyleLbl="parChTrans1D3" presStyleIdx="1" presStyleCnt="2"/>
      <dgm:spPr/>
    </dgm:pt>
    <dgm:pt modelId="{7665FE07-EC76-4CFE-9E6A-323E0B56B0E8}" type="pres">
      <dgm:prSet presAssocID="{DE66CC95-1D95-4E97-BBD2-4EAA08EAA64F}" presName="hierRoot3" presStyleCnt="0"/>
      <dgm:spPr/>
    </dgm:pt>
    <dgm:pt modelId="{358565F9-2E64-4957-AC98-CC818317B2F7}" type="pres">
      <dgm:prSet presAssocID="{DE66CC95-1D95-4E97-BBD2-4EAA08EAA64F}" presName="composite3" presStyleCnt="0"/>
      <dgm:spPr/>
    </dgm:pt>
    <dgm:pt modelId="{9586C6E0-026D-4F51-AFF6-4E596228691E}" type="pres">
      <dgm:prSet presAssocID="{DE66CC95-1D95-4E97-BBD2-4EAA08EAA64F}" presName="background3" presStyleLbl="node3" presStyleIdx="1" presStyleCnt="2"/>
      <dgm:spPr/>
    </dgm:pt>
    <dgm:pt modelId="{F201565A-0E7B-497F-9EA9-289CEE3794BC}" type="pres">
      <dgm:prSet presAssocID="{DE66CC95-1D95-4E97-BBD2-4EAA08EAA64F}" presName="text3" presStyleLbl="fgAcc3" presStyleIdx="1" presStyleCnt="2">
        <dgm:presLayoutVars>
          <dgm:chPref val="3"/>
        </dgm:presLayoutVars>
      </dgm:prSet>
      <dgm:spPr/>
    </dgm:pt>
    <dgm:pt modelId="{9B11A325-AF25-4C1A-9959-F37B80FB2F5A}" type="pres">
      <dgm:prSet presAssocID="{DE66CC95-1D95-4E97-BBD2-4EAA08EAA64F}" presName="hierChild4" presStyleCnt="0"/>
      <dgm:spPr/>
    </dgm:pt>
    <dgm:pt modelId="{024D03C2-CC11-4F96-93B9-28AA2C1F05C2}" type="pres">
      <dgm:prSet presAssocID="{74287ACB-39D4-478A-A354-CF574C2CBB16}" presName="Name10" presStyleLbl="parChTrans1D2" presStyleIdx="1" presStyleCnt="3"/>
      <dgm:spPr/>
    </dgm:pt>
    <dgm:pt modelId="{A8942C16-4728-4A92-8D51-58FBAA12A944}" type="pres">
      <dgm:prSet presAssocID="{B02C8959-773F-4EAF-8AB8-D2B859C0FF41}" presName="hierRoot2" presStyleCnt="0"/>
      <dgm:spPr/>
    </dgm:pt>
    <dgm:pt modelId="{4FF6C489-D9D7-44A4-A226-0AA212699F67}" type="pres">
      <dgm:prSet presAssocID="{B02C8959-773F-4EAF-8AB8-D2B859C0FF41}" presName="composite2" presStyleCnt="0"/>
      <dgm:spPr/>
    </dgm:pt>
    <dgm:pt modelId="{0BF73CE5-171A-41C0-91E9-ED47D88D46C1}" type="pres">
      <dgm:prSet presAssocID="{B02C8959-773F-4EAF-8AB8-D2B859C0FF41}" presName="background2" presStyleLbl="node2" presStyleIdx="1" presStyleCnt="3"/>
      <dgm:spPr/>
    </dgm:pt>
    <dgm:pt modelId="{7D1F3B5C-2501-4FD9-93ED-4E696557C1E0}" type="pres">
      <dgm:prSet presAssocID="{B02C8959-773F-4EAF-8AB8-D2B859C0FF41}" presName="text2" presStyleLbl="fgAcc2" presStyleIdx="1" presStyleCnt="3">
        <dgm:presLayoutVars>
          <dgm:chPref val="3"/>
        </dgm:presLayoutVars>
      </dgm:prSet>
      <dgm:spPr/>
    </dgm:pt>
    <dgm:pt modelId="{ABF9F5AA-B675-4739-8E48-605064309F91}" type="pres">
      <dgm:prSet presAssocID="{B02C8959-773F-4EAF-8AB8-D2B859C0FF41}" presName="hierChild3" presStyleCnt="0"/>
      <dgm:spPr/>
    </dgm:pt>
    <dgm:pt modelId="{40EB6D33-A591-4553-9F67-E6298881EC43}" type="pres">
      <dgm:prSet presAssocID="{E8DBC232-B1F1-40BC-9539-E2FD463FB769}" presName="Name10" presStyleLbl="parChTrans1D2" presStyleIdx="2" presStyleCnt="3"/>
      <dgm:spPr/>
    </dgm:pt>
    <dgm:pt modelId="{94B3EFE1-5D64-4893-99BE-C575A9E29811}" type="pres">
      <dgm:prSet presAssocID="{DF36A8E1-7F8C-4C0A-9793-158A91F53845}" presName="hierRoot2" presStyleCnt="0"/>
      <dgm:spPr/>
    </dgm:pt>
    <dgm:pt modelId="{24566B1D-B796-4708-BC01-8D9F8AC99E1F}" type="pres">
      <dgm:prSet presAssocID="{DF36A8E1-7F8C-4C0A-9793-158A91F53845}" presName="composite2" presStyleCnt="0"/>
      <dgm:spPr/>
    </dgm:pt>
    <dgm:pt modelId="{987646A6-CF18-440F-908E-7DD1A73B6D14}" type="pres">
      <dgm:prSet presAssocID="{DF36A8E1-7F8C-4C0A-9793-158A91F53845}" presName="background2" presStyleLbl="node2" presStyleIdx="2" presStyleCnt="3"/>
      <dgm:spPr/>
    </dgm:pt>
    <dgm:pt modelId="{30F8D9B5-6D3B-430E-8F2D-4450EAB5F2F4}" type="pres">
      <dgm:prSet presAssocID="{DF36A8E1-7F8C-4C0A-9793-158A91F53845}" presName="text2" presStyleLbl="fgAcc2" presStyleIdx="2" presStyleCnt="3">
        <dgm:presLayoutVars>
          <dgm:chPref val="3"/>
        </dgm:presLayoutVars>
      </dgm:prSet>
      <dgm:spPr/>
    </dgm:pt>
    <dgm:pt modelId="{EE49C545-6BFA-4CE7-9A38-14C6F7FF3FFD}" type="pres">
      <dgm:prSet presAssocID="{DF36A8E1-7F8C-4C0A-9793-158A91F53845}" presName="hierChild3" presStyleCnt="0"/>
      <dgm:spPr/>
    </dgm:pt>
  </dgm:ptLst>
  <dgm:cxnLst>
    <dgm:cxn modelId="{FCD2AB01-D8C3-4A9A-9D9C-64A988D394D3}" type="presOf" srcId="{B89E3C0F-5327-40CE-8419-775A9581A01F}" destId="{1ED18195-9BBD-4709-B17B-28814005E718}" srcOrd="0" destOrd="0" presId="urn:microsoft.com/office/officeart/2005/8/layout/hierarchy1"/>
    <dgm:cxn modelId="{9E3B2C1A-A467-4578-B786-6CAD66D7C12D}" srcId="{5FA398D5-846C-42E5-A1F1-363BFC156D07}" destId="{DE66CC95-1D95-4E97-BBD2-4EAA08EAA64F}" srcOrd="1" destOrd="0" parTransId="{82CCD9E0-4559-4DED-B218-7A376F1F2B38}" sibTransId="{DB2CCDD9-DC5C-4391-A146-7D60F8618720}"/>
    <dgm:cxn modelId="{5E9F901D-196C-4EF5-A68B-0FA48810D2BF}" type="presOf" srcId="{B02C8959-773F-4EAF-8AB8-D2B859C0FF41}" destId="{7D1F3B5C-2501-4FD9-93ED-4E696557C1E0}" srcOrd="0" destOrd="0" presId="urn:microsoft.com/office/officeart/2005/8/layout/hierarchy1"/>
    <dgm:cxn modelId="{D163742E-282B-49E7-96A1-53AC594766FD}" type="presOf" srcId="{15898255-D17D-4252-A277-C971B9CBE51E}" destId="{B3AB6275-5109-4845-BA11-76D6D227495D}" srcOrd="0" destOrd="0" presId="urn:microsoft.com/office/officeart/2005/8/layout/hierarchy1"/>
    <dgm:cxn modelId="{7218B03C-A804-4641-8D7C-F8DD19EFC83B}" type="presOf" srcId="{5FA398D5-846C-42E5-A1F1-363BFC156D07}" destId="{06A84F54-7B19-45E6-B45F-F9F9D54DC709}" srcOrd="0" destOrd="0" presId="urn:microsoft.com/office/officeart/2005/8/layout/hierarchy1"/>
    <dgm:cxn modelId="{9AB1835B-6E36-436F-8F97-72AC0446341E}" type="presOf" srcId="{74287ACB-39D4-478A-A354-CF574C2CBB16}" destId="{024D03C2-CC11-4F96-93B9-28AA2C1F05C2}" srcOrd="0" destOrd="0" presId="urn:microsoft.com/office/officeart/2005/8/layout/hierarchy1"/>
    <dgm:cxn modelId="{B5A4EB5B-A6A4-441F-9071-79D3F4158ABB}" srcId="{94B90960-72F4-4E3A-A9DF-CA88834C6202}" destId="{B02C8959-773F-4EAF-8AB8-D2B859C0FF41}" srcOrd="1" destOrd="0" parTransId="{74287ACB-39D4-478A-A354-CF574C2CBB16}" sibTransId="{2EFC8BE6-A771-455F-8D12-3880B2751F28}"/>
    <dgm:cxn modelId="{7013D865-2B4E-4CFA-8069-878E0C3C9E3A}" type="presOf" srcId="{DF36A8E1-7F8C-4C0A-9793-158A91F53845}" destId="{30F8D9B5-6D3B-430E-8F2D-4450EAB5F2F4}" srcOrd="0" destOrd="0" presId="urn:microsoft.com/office/officeart/2005/8/layout/hierarchy1"/>
    <dgm:cxn modelId="{CE796256-4F1E-4856-B916-50C477499076}" srcId="{94B90960-72F4-4E3A-A9DF-CA88834C6202}" destId="{5FA398D5-846C-42E5-A1F1-363BFC156D07}" srcOrd="0" destOrd="0" parTransId="{15898255-D17D-4252-A277-C971B9CBE51E}" sibTransId="{DA676569-77F9-4728-A5A0-4202CD0686D4}"/>
    <dgm:cxn modelId="{53FEFD7D-0CD8-4BDA-A443-DD5C2DB86F82}" type="presOf" srcId="{82CCD9E0-4559-4DED-B218-7A376F1F2B38}" destId="{EBCCC4D2-E953-4509-9CA3-CFEAA9F05D43}" srcOrd="0" destOrd="0" presId="urn:microsoft.com/office/officeart/2005/8/layout/hierarchy1"/>
    <dgm:cxn modelId="{05ABEF9D-F570-4494-965D-E897A7BC64F9}" type="presOf" srcId="{59BAF30D-7F6D-46A7-9730-8CF9B7FF455A}" destId="{EEB3C97D-60A8-47E8-B940-67E2D52E10DE}" srcOrd="0" destOrd="0" presId="urn:microsoft.com/office/officeart/2005/8/layout/hierarchy1"/>
    <dgm:cxn modelId="{105E85A5-9C94-45C6-8A08-FBAD66EDD6C7}" srcId="{5FA398D5-846C-42E5-A1F1-363BFC156D07}" destId="{B89E3C0F-5327-40CE-8419-775A9581A01F}" srcOrd="0" destOrd="0" parTransId="{808A67CD-F7FA-4C4C-A1DA-8213803D3D35}" sibTransId="{10E9222D-6460-40CD-897A-E3B281738F01}"/>
    <dgm:cxn modelId="{9B5567A8-4967-407E-AF2F-E52D73B59651}" type="presOf" srcId="{94B90960-72F4-4E3A-A9DF-CA88834C6202}" destId="{BA030B88-6520-4453-A1CB-A85E32B69A60}" srcOrd="0" destOrd="0" presId="urn:microsoft.com/office/officeart/2005/8/layout/hierarchy1"/>
    <dgm:cxn modelId="{028014CA-67E4-4351-B44C-D47E8267C4CB}" srcId="{59BAF30D-7F6D-46A7-9730-8CF9B7FF455A}" destId="{94B90960-72F4-4E3A-A9DF-CA88834C6202}" srcOrd="0" destOrd="0" parTransId="{3A635FDE-DA3A-410D-AE76-07627815C5E1}" sibTransId="{F713F8BF-E7AA-48C7-9088-9B892BA62AAA}"/>
    <dgm:cxn modelId="{831FB8CA-641F-4530-97B4-2B2288CF7A71}" type="presOf" srcId="{DE66CC95-1D95-4E97-BBD2-4EAA08EAA64F}" destId="{F201565A-0E7B-497F-9EA9-289CEE3794BC}" srcOrd="0" destOrd="0" presId="urn:microsoft.com/office/officeart/2005/8/layout/hierarchy1"/>
    <dgm:cxn modelId="{3AD59ED5-447D-4DC2-910D-595950C4732F}" type="presOf" srcId="{E8DBC232-B1F1-40BC-9539-E2FD463FB769}" destId="{40EB6D33-A591-4553-9F67-E6298881EC43}" srcOrd="0" destOrd="0" presId="urn:microsoft.com/office/officeart/2005/8/layout/hierarchy1"/>
    <dgm:cxn modelId="{C7A1D2F1-A71D-4DEB-9A02-5F4FB26E3D13}" srcId="{94B90960-72F4-4E3A-A9DF-CA88834C6202}" destId="{DF36A8E1-7F8C-4C0A-9793-158A91F53845}" srcOrd="2" destOrd="0" parTransId="{E8DBC232-B1F1-40BC-9539-E2FD463FB769}" sibTransId="{8780966E-80A9-4234-AF68-9FAC4753512D}"/>
    <dgm:cxn modelId="{914A36F9-1702-4477-9FC9-E7C9C31DE9AE}" type="presOf" srcId="{808A67CD-F7FA-4C4C-A1DA-8213803D3D35}" destId="{EAA2F6AD-341F-4EF8-90ED-99E86BA5FED2}" srcOrd="0" destOrd="0" presId="urn:microsoft.com/office/officeart/2005/8/layout/hierarchy1"/>
    <dgm:cxn modelId="{281BA7ED-86A1-4C44-8665-5385FE72F92F}" type="presParOf" srcId="{EEB3C97D-60A8-47E8-B940-67E2D52E10DE}" destId="{17D72D8B-0E8A-483E-9F15-E857A2562EDE}" srcOrd="0" destOrd="0" presId="urn:microsoft.com/office/officeart/2005/8/layout/hierarchy1"/>
    <dgm:cxn modelId="{F87337F0-F10C-4A88-9152-3F0ECCDB5E8D}" type="presParOf" srcId="{17D72D8B-0E8A-483E-9F15-E857A2562EDE}" destId="{1451AFB0-108E-4F49-A568-B727BE814536}" srcOrd="0" destOrd="0" presId="urn:microsoft.com/office/officeart/2005/8/layout/hierarchy1"/>
    <dgm:cxn modelId="{BC2788DA-65E8-4062-9F78-14EB05A6BB41}" type="presParOf" srcId="{1451AFB0-108E-4F49-A568-B727BE814536}" destId="{F5499508-046E-4AE0-9236-7F6CA568B9C5}" srcOrd="0" destOrd="0" presId="urn:microsoft.com/office/officeart/2005/8/layout/hierarchy1"/>
    <dgm:cxn modelId="{3E25F6AE-07F0-4674-B607-38E341E484E5}" type="presParOf" srcId="{1451AFB0-108E-4F49-A568-B727BE814536}" destId="{BA030B88-6520-4453-A1CB-A85E32B69A60}" srcOrd="1" destOrd="0" presId="urn:microsoft.com/office/officeart/2005/8/layout/hierarchy1"/>
    <dgm:cxn modelId="{41301A0C-3412-450B-8BC6-270200C8A230}" type="presParOf" srcId="{17D72D8B-0E8A-483E-9F15-E857A2562EDE}" destId="{FC6E999B-80E5-4BDD-9A69-C8FB3E4278D8}" srcOrd="1" destOrd="0" presId="urn:microsoft.com/office/officeart/2005/8/layout/hierarchy1"/>
    <dgm:cxn modelId="{6856BB0E-02EC-4AC6-B393-A459FAB6E943}" type="presParOf" srcId="{FC6E999B-80E5-4BDD-9A69-C8FB3E4278D8}" destId="{B3AB6275-5109-4845-BA11-76D6D227495D}" srcOrd="0" destOrd="0" presId="urn:microsoft.com/office/officeart/2005/8/layout/hierarchy1"/>
    <dgm:cxn modelId="{C1B00D54-20D9-4B6D-B113-CD02EB6B5448}" type="presParOf" srcId="{FC6E999B-80E5-4BDD-9A69-C8FB3E4278D8}" destId="{25347531-F5A3-41C0-A1D5-AE25C10D724D}" srcOrd="1" destOrd="0" presId="urn:microsoft.com/office/officeart/2005/8/layout/hierarchy1"/>
    <dgm:cxn modelId="{7AA09F31-056B-43E2-B1BD-D78A4E155650}" type="presParOf" srcId="{25347531-F5A3-41C0-A1D5-AE25C10D724D}" destId="{6665A4D4-EC55-4404-A781-442FB8D49DFA}" srcOrd="0" destOrd="0" presId="urn:microsoft.com/office/officeart/2005/8/layout/hierarchy1"/>
    <dgm:cxn modelId="{FECCBC39-45FB-4F44-A73C-49DC1F78F69F}" type="presParOf" srcId="{6665A4D4-EC55-4404-A781-442FB8D49DFA}" destId="{214125FD-F1D6-49D5-9EE6-1405809DEC02}" srcOrd="0" destOrd="0" presId="urn:microsoft.com/office/officeart/2005/8/layout/hierarchy1"/>
    <dgm:cxn modelId="{521B18E8-9793-43CE-88C7-60FFBCF65136}" type="presParOf" srcId="{6665A4D4-EC55-4404-A781-442FB8D49DFA}" destId="{06A84F54-7B19-45E6-B45F-F9F9D54DC709}" srcOrd="1" destOrd="0" presId="urn:microsoft.com/office/officeart/2005/8/layout/hierarchy1"/>
    <dgm:cxn modelId="{46DBBBEE-760A-4FF6-85E0-85B0DA6AA8AF}" type="presParOf" srcId="{25347531-F5A3-41C0-A1D5-AE25C10D724D}" destId="{F368D047-F084-44D0-9B0F-79631D2E08FE}" srcOrd="1" destOrd="0" presId="urn:microsoft.com/office/officeart/2005/8/layout/hierarchy1"/>
    <dgm:cxn modelId="{296D9797-9AB4-4513-BD22-43ECE0EB299C}" type="presParOf" srcId="{F368D047-F084-44D0-9B0F-79631D2E08FE}" destId="{EAA2F6AD-341F-4EF8-90ED-99E86BA5FED2}" srcOrd="0" destOrd="0" presId="urn:microsoft.com/office/officeart/2005/8/layout/hierarchy1"/>
    <dgm:cxn modelId="{A6458CF6-B149-4FE7-A164-BA121E47CAEF}" type="presParOf" srcId="{F368D047-F084-44D0-9B0F-79631D2E08FE}" destId="{5B344CB3-B110-4BC0-B417-282CB6C228A8}" srcOrd="1" destOrd="0" presId="urn:microsoft.com/office/officeart/2005/8/layout/hierarchy1"/>
    <dgm:cxn modelId="{01480BEA-1A40-41CD-A80E-AC47664BF125}" type="presParOf" srcId="{5B344CB3-B110-4BC0-B417-282CB6C228A8}" destId="{98ADB963-8885-4660-B98D-F3FC8F6C8520}" srcOrd="0" destOrd="0" presId="urn:microsoft.com/office/officeart/2005/8/layout/hierarchy1"/>
    <dgm:cxn modelId="{34586703-2653-481A-896A-0C19DF24E404}" type="presParOf" srcId="{98ADB963-8885-4660-B98D-F3FC8F6C8520}" destId="{73663E2A-ECF5-4924-9BFC-F72E2200CB03}" srcOrd="0" destOrd="0" presId="urn:microsoft.com/office/officeart/2005/8/layout/hierarchy1"/>
    <dgm:cxn modelId="{BF579812-8A4F-4CF8-A0B2-E2FE352948E3}" type="presParOf" srcId="{98ADB963-8885-4660-B98D-F3FC8F6C8520}" destId="{1ED18195-9BBD-4709-B17B-28814005E718}" srcOrd="1" destOrd="0" presId="urn:microsoft.com/office/officeart/2005/8/layout/hierarchy1"/>
    <dgm:cxn modelId="{13F390AA-4F5C-4753-9156-8CB08E2B7A4B}" type="presParOf" srcId="{5B344CB3-B110-4BC0-B417-282CB6C228A8}" destId="{F71EFE68-43C2-4569-BEC2-72F54194BADF}" srcOrd="1" destOrd="0" presId="urn:microsoft.com/office/officeart/2005/8/layout/hierarchy1"/>
    <dgm:cxn modelId="{F4A1AE2A-7485-4E9F-A98D-2A027DA02358}" type="presParOf" srcId="{F368D047-F084-44D0-9B0F-79631D2E08FE}" destId="{EBCCC4D2-E953-4509-9CA3-CFEAA9F05D43}" srcOrd="2" destOrd="0" presId="urn:microsoft.com/office/officeart/2005/8/layout/hierarchy1"/>
    <dgm:cxn modelId="{F7AFBDF8-5BED-4A02-8BA6-F107B95A4387}" type="presParOf" srcId="{F368D047-F084-44D0-9B0F-79631D2E08FE}" destId="{7665FE07-EC76-4CFE-9E6A-323E0B56B0E8}" srcOrd="3" destOrd="0" presId="urn:microsoft.com/office/officeart/2005/8/layout/hierarchy1"/>
    <dgm:cxn modelId="{5BAD9350-23B1-45A6-8E31-991A053B98B0}" type="presParOf" srcId="{7665FE07-EC76-4CFE-9E6A-323E0B56B0E8}" destId="{358565F9-2E64-4957-AC98-CC818317B2F7}" srcOrd="0" destOrd="0" presId="urn:microsoft.com/office/officeart/2005/8/layout/hierarchy1"/>
    <dgm:cxn modelId="{E23BA2C4-C171-4D44-8F33-18E7965DF9FB}" type="presParOf" srcId="{358565F9-2E64-4957-AC98-CC818317B2F7}" destId="{9586C6E0-026D-4F51-AFF6-4E596228691E}" srcOrd="0" destOrd="0" presId="urn:microsoft.com/office/officeart/2005/8/layout/hierarchy1"/>
    <dgm:cxn modelId="{BA80BDDE-5AAE-442B-B722-F2F3993A9F7B}" type="presParOf" srcId="{358565F9-2E64-4957-AC98-CC818317B2F7}" destId="{F201565A-0E7B-497F-9EA9-289CEE3794BC}" srcOrd="1" destOrd="0" presId="urn:microsoft.com/office/officeart/2005/8/layout/hierarchy1"/>
    <dgm:cxn modelId="{1E0AB0C9-87F9-478B-ABB2-5368571081C6}" type="presParOf" srcId="{7665FE07-EC76-4CFE-9E6A-323E0B56B0E8}" destId="{9B11A325-AF25-4C1A-9959-F37B80FB2F5A}" srcOrd="1" destOrd="0" presId="urn:microsoft.com/office/officeart/2005/8/layout/hierarchy1"/>
    <dgm:cxn modelId="{98748162-03E7-45F9-8E46-90D4628988BD}" type="presParOf" srcId="{FC6E999B-80E5-4BDD-9A69-C8FB3E4278D8}" destId="{024D03C2-CC11-4F96-93B9-28AA2C1F05C2}" srcOrd="2" destOrd="0" presId="urn:microsoft.com/office/officeart/2005/8/layout/hierarchy1"/>
    <dgm:cxn modelId="{7C0B830B-2578-44B8-B7AB-F7B58EAA9BED}" type="presParOf" srcId="{FC6E999B-80E5-4BDD-9A69-C8FB3E4278D8}" destId="{A8942C16-4728-4A92-8D51-58FBAA12A944}" srcOrd="3" destOrd="0" presId="urn:microsoft.com/office/officeart/2005/8/layout/hierarchy1"/>
    <dgm:cxn modelId="{1C150AB6-1136-4CAE-B189-81C4FF112B73}" type="presParOf" srcId="{A8942C16-4728-4A92-8D51-58FBAA12A944}" destId="{4FF6C489-D9D7-44A4-A226-0AA212699F67}" srcOrd="0" destOrd="0" presId="urn:microsoft.com/office/officeart/2005/8/layout/hierarchy1"/>
    <dgm:cxn modelId="{44A03379-C1AF-4243-9C99-FF1FEC68480A}" type="presParOf" srcId="{4FF6C489-D9D7-44A4-A226-0AA212699F67}" destId="{0BF73CE5-171A-41C0-91E9-ED47D88D46C1}" srcOrd="0" destOrd="0" presId="urn:microsoft.com/office/officeart/2005/8/layout/hierarchy1"/>
    <dgm:cxn modelId="{87242780-162F-4468-A990-36C4771D3A43}" type="presParOf" srcId="{4FF6C489-D9D7-44A4-A226-0AA212699F67}" destId="{7D1F3B5C-2501-4FD9-93ED-4E696557C1E0}" srcOrd="1" destOrd="0" presId="urn:microsoft.com/office/officeart/2005/8/layout/hierarchy1"/>
    <dgm:cxn modelId="{1342536F-50C6-4EC5-87D0-33EA169EC59F}" type="presParOf" srcId="{A8942C16-4728-4A92-8D51-58FBAA12A944}" destId="{ABF9F5AA-B675-4739-8E48-605064309F91}" srcOrd="1" destOrd="0" presId="urn:microsoft.com/office/officeart/2005/8/layout/hierarchy1"/>
    <dgm:cxn modelId="{1366510D-CAB6-4063-BFD3-9E2A4FF328AC}" type="presParOf" srcId="{FC6E999B-80E5-4BDD-9A69-C8FB3E4278D8}" destId="{40EB6D33-A591-4553-9F67-E6298881EC43}" srcOrd="4" destOrd="0" presId="urn:microsoft.com/office/officeart/2005/8/layout/hierarchy1"/>
    <dgm:cxn modelId="{F7167929-BBC3-4072-A665-4C04408E13FA}" type="presParOf" srcId="{FC6E999B-80E5-4BDD-9A69-C8FB3E4278D8}" destId="{94B3EFE1-5D64-4893-99BE-C575A9E29811}" srcOrd="5" destOrd="0" presId="urn:microsoft.com/office/officeart/2005/8/layout/hierarchy1"/>
    <dgm:cxn modelId="{82EABBAA-5CCF-4D5B-B041-7EAF0850A8C3}" type="presParOf" srcId="{94B3EFE1-5D64-4893-99BE-C575A9E29811}" destId="{24566B1D-B796-4708-BC01-8D9F8AC99E1F}" srcOrd="0" destOrd="0" presId="urn:microsoft.com/office/officeart/2005/8/layout/hierarchy1"/>
    <dgm:cxn modelId="{59E1A256-CDD1-46A6-9323-080D8E599074}" type="presParOf" srcId="{24566B1D-B796-4708-BC01-8D9F8AC99E1F}" destId="{987646A6-CF18-440F-908E-7DD1A73B6D14}" srcOrd="0" destOrd="0" presId="urn:microsoft.com/office/officeart/2005/8/layout/hierarchy1"/>
    <dgm:cxn modelId="{7B273F7D-07B2-4F18-9D67-D30D58FD4041}" type="presParOf" srcId="{24566B1D-B796-4708-BC01-8D9F8AC99E1F}" destId="{30F8D9B5-6D3B-430E-8F2D-4450EAB5F2F4}" srcOrd="1" destOrd="0" presId="urn:microsoft.com/office/officeart/2005/8/layout/hierarchy1"/>
    <dgm:cxn modelId="{C964D653-F998-43A4-9FAA-81B36E646D22}" type="presParOf" srcId="{94B3EFE1-5D64-4893-99BE-C575A9E29811}" destId="{EE49C545-6BFA-4CE7-9A38-14C6F7FF3FFD}"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68EDBB-6C59-489D-928C-BDB048836D7D}"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F3C98FD1-2738-436C-B746-5C8C32402705}">
      <dgm:prSet phldrT="[Text]" custT="1"/>
      <dgm:spPr>
        <a:solidFill>
          <a:srgbClr val="003980"/>
        </a:solidFill>
      </dgm:spPr>
      <dgm:t>
        <a:bodyPr/>
        <a:lstStyle/>
        <a:p>
          <a:r>
            <a:rPr lang="en-US" sz="4800" dirty="0"/>
            <a:t>. . . Familiar Major Methods of Procurement</a:t>
          </a:r>
        </a:p>
      </dgm:t>
    </dgm:pt>
    <dgm:pt modelId="{20ADF578-F70B-4008-AC70-57FEA102FE9F}" type="parTrans" cxnId="{1AE87DAD-B8A6-492B-843F-29D74466A3B8}">
      <dgm:prSet/>
      <dgm:spPr/>
      <dgm:t>
        <a:bodyPr/>
        <a:lstStyle/>
        <a:p>
          <a:endParaRPr lang="en-US"/>
        </a:p>
      </dgm:t>
    </dgm:pt>
    <dgm:pt modelId="{5CFE5279-F16A-4772-8710-52773315F814}" type="sibTrans" cxnId="{1AE87DAD-B8A6-492B-843F-29D74466A3B8}">
      <dgm:prSet/>
      <dgm:spPr/>
      <dgm:t>
        <a:bodyPr/>
        <a:lstStyle/>
        <a:p>
          <a:endParaRPr lang="en-US"/>
        </a:p>
      </dgm:t>
    </dgm:pt>
    <dgm:pt modelId="{951AFA1D-48CC-4F01-B718-D9EA2E407D9F}">
      <dgm:prSet phldrT="[Text]"/>
      <dgm:spPr>
        <a:solidFill>
          <a:srgbClr val="003B81"/>
        </a:solidFill>
      </dgm:spPr>
      <dgm:t>
        <a:bodyPr/>
        <a:lstStyle/>
        <a:p>
          <a:r>
            <a:rPr lang="en-US" dirty="0"/>
            <a:t>Open Procedure (less than 3%)</a:t>
          </a:r>
        </a:p>
      </dgm:t>
    </dgm:pt>
    <dgm:pt modelId="{A2E9C27C-40E3-49A7-A230-6CE0220C3AE9}" type="parTrans" cxnId="{A6924842-DDDB-4B4C-92F8-DAE7D25C9F5F}">
      <dgm:prSet/>
      <dgm:spPr/>
      <dgm:t>
        <a:bodyPr/>
        <a:lstStyle/>
        <a:p>
          <a:endParaRPr lang="en-US"/>
        </a:p>
      </dgm:t>
    </dgm:pt>
    <dgm:pt modelId="{943F621F-1C11-46AC-9630-9C6B26810905}" type="sibTrans" cxnId="{A6924842-DDDB-4B4C-92F8-DAE7D25C9F5F}">
      <dgm:prSet/>
      <dgm:spPr/>
      <dgm:t>
        <a:bodyPr/>
        <a:lstStyle/>
        <a:p>
          <a:endParaRPr lang="en-US"/>
        </a:p>
      </dgm:t>
    </dgm:pt>
    <dgm:pt modelId="{01623077-1D72-4676-B637-BC844D330C9D}">
      <dgm:prSet phldrT="[Text]"/>
      <dgm:spPr>
        <a:solidFill>
          <a:srgbClr val="7030A0"/>
        </a:solidFill>
      </dgm:spPr>
      <dgm:t>
        <a:bodyPr/>
        <a:lstStyle/>
        <a:p>
          <a:r>
            <a:rPr lang="en-US" dirty="0"/>
            <a:t>Restricted Procedure</a:t>
          </a:r>
        </a:p>
      </dgm:t>
    </dgm:pt>
    <dgm:pt modelId="{8AFBF5FB-5241-4796-84ED-70FF02810EC7}" type="parTrans" cxnId="{7BB28CA4-6A55-4963-A1AA-D346A097ED5E}">
      <dgm:prSet/>
      <dgm:spPr/>
      <dgm:t>
        <a:bodyPr/>
        <a:lstStyle/>
        <a:p>
          <a:endParaRPr lang="en-US"/>
        </a:p>
      </dgm:t>
    </dgm:pt>
    <dgm:pt modelId="{3187FA7D-AE95-4FFB-92F3-51965582BDB6}" type="sibTrans" cxnId="{7BB28CA4-6A55-4963-A1AA-D346A097ED5E}">
      <dgm:prSet/>
      <dgm:spPr/>
      <dgm:t>
        <a:bodyPr/>
        <a:lstStyle/>
        <a:p>
          <a:endParaRPr lang="en-US"/>
        </a:p>
      </dgm:t>
    </dgm:pt>
    <dgm:pt modelId="{8596FF30-F955-4E45-A57F-4322F7F7CF31}">
      <dgm:prSet phldrT="[Text]"/>
      <dgm:spPr>
        <a:solidFill>
          <a:srgbClr val="00B050"/>
        </a:solidFill>
      </dgm:spPr>
      <dgm:t>
        <a:bodyPr/>
        <a:lstStyle/>
        <a:p>
          <a:r>
            <a:rPr lang="en-US" dirty="0"/>
            <a:t>Negotiated Procedure (primary method)</a:t>
          </a:r>
        </a:p>
      </dgm:t>
    </dgm:pt>
    <dgm:pt modelId="{99586522-1AEC-4155-A741-8019B5420CA6}" type="parTrans" cxnId="{41DDF1FC-5D66-41CD-92CD-B3F0D3F08CA7}">
      <dgm:prSet/>
      <dgm:spPr/>
      <dgm:t>
        <a:bodyPr/>
        <a:lstStyle/>
        <a:p>
          <a:endParaRPr lang="en-US"/>
        </a:p>
      </dgm:t>
    </dgm:pt>
    <dgm:pt modelId="{D1703287-4F29-4550-9155-0D414282E763}" type="sibTrans" cxnId="{41DDF1FC-5D66-41CD-92CD-B3F0D3F08CA7}">
      <dgm:prSet/>
      <dgm:spPr/>
      <dgm:t>
        <a:bodyPr/>
        <a:lstStyle/>
        <a:p>
          <a:endParaRPr lang="en-US"/>
        </a:p>
      </dgm:t>
    </dgm:pt>
    <dgm:pt modelId="{EA45C840-1782-4051-A01C-0BC92103589D}">
      <dgm:prSet/>
      <dgm:spPr>
        <a:solidFill>
          <a:srgbClr val="FF0000"/>
        </a:solidFill>
      </dgm:spPr>
      <dgm:t>
        <a:bodyPr/>
        <a:lstStyle/>
        <a:p>
          <a:r>
            <a:rPr lang="en-US" dirty="0"/>
            <a:t>Sole-Source</a:t>
          </a:r>
        </a:p>
      </dgm:t>
    </dgm:pt>
    <dgm:pt modelId="{65F428A0-7C06-42A2-8C33-7274FEABD122}" type="parTrans" cxnId="{F6319FCE-DBD2-468F-A32E-9FA8A7E681F7}">
      <dgm:prSet/>
      <dgm:spPr/>
      <dgm:t>
        <a:bodyPr/>
        <a:lstStyle/>
        <a:p>
          <a:endParaRPr lang="en-US"/>
        </a:p>
      </dgm:t>
    </dgm:pt>
    <dgm:pt modelId="{113785B0-6469-47C8-B081-8EB458FC74CA}" type="sibTrans" cxnId="{F6319FCE-DBD2-468F-A32E-9FA8A7E681F7}">
      <dgm:prSet/>
      <dgm:spPr/>
      <dgm:t>
        <a:bodyPr/>
        <a:lstStyle/>
        <a:p>
          <a:endParaRPr lang="en-US"/>
        </a:p>
      </dgm:t>
    </dgm:pt>
    <dgm:pt modelId="{A5733BA5-6DD1-4C50-BA58-795122F04156}" type="pres">
      <dgm:prSet presAssocID="{F168EDBB-6C59-489D-928C-BDB048836D7D}" presName="composite" presStyleCnt="0">
        <dgm:presLayoutVars>
          <dgm:chMax val="1"/>
          <dgm:dir/>
          <dgm:resizeHandles val="exact"/>
        </dgm:presLayoutVars>
      </dgm:prSet>
      <dgm:spPr/>
    </dgm:pt>
    <dgm:pt modelId="{DC8547D4-F2C2-4F79-B65B-C4AB9A86B58A}" type="pres">
      <dgm:prSet presAssocID="{F3C98FD1-2738-436C-B746-5C8C32402705}" presName="roof" presStyleLbl="dkBgShp" presStyleIdx="0" presStyleCnt="2"/>
      <dgm:spPr/>
    </dgm:pt>
    <dgm:pt modelId="{D717876E-EBE4-43C9-AB7F-EDEEBEEC53D5}" type="pres">
      <dgm:prSet presAssocID="{F3C98FD1-2738-436C-B746-5C8C32402705}" presName="pillars" presStyleCnt="0"/>
      <dgm:spPr/>
    </dgm:pt>
    <dgm:pt modelId="{F40879A2-28E3-4C28-99D7-5A75FC5ACB94}" type="pres">
      <dgm:prSet presAssocID="{F3C98FD1-2738-436C-B746-5C8C32402705}" presName="pillar1" presStyleLbl="node1" presStyleIdx="0" presStyleCnt="4">
        <dgm:presLayoutVars>
          <dgm:bulletEnabled val="1"/>
        </dgm:presLayoutVars>
      </dgm:prSet>
      <dgm:spPr/>
    </dgm:pt>
    <dgm:pt modelId="{1076BC11-668B-403F-8B4D-656BCC5ECE4D}" type="pres">
      <dgm:prSet presAssocID="{01623077-1D72-4676-B637-BC844D330C9D}" presName="pillarX" presStyleLbl="node1" presStyleIdx="1" presStyleCnt="4">
        <dgm:presLayoutVars>
          <dgm:bulletEnabled val="1"/>
        </dgm:presLayoutVars>
      </dgm:prSet>
      <dgm:spPr/>
    </dgm:pt>
    <dgm:pt modelId="{7C73FAC5-BB55-4A5B-B235-8B783871E452}" type="pres">
      <dgm:prSet presAssocID="{8596FF30-F955-4E45-A57F-4322F7F7CF31}" presName="pillarX" presStyleLbl="node1" presStyleIdx="2" presStyleCnt="4" custScaleX="105233" custScaleY="101058" custLinFactNeighborX="-1586" custLinFactNeighborY="-341">
        <dgm:presLayoutVars>
          <dgm:bulletEnabled val="1"/>
        </dgm:presLayoutVars>
      </dgm:prSet>
      <dgm:spPr/>
    </dgm:pt>
    <dgm:pt modelId="{D792A869-4778-4F2B-AB01-58DB00DA1F0C}" type="pres">
      <dgm:prSet presAssocID="{EA45C840-1782-4051-A01C-0BC92103589D}" presName="pillarX" presStyleLbl="node1" presStyleIdx="3" presStyleCnt="4" custScaleX="108898">
        <dgm:presLayoutVars>
          <dgm:bulletEnabled val="1"/>
        </dgm:presLayoutVars>
      </dgm:prSet>
      <dgm:spPr/>
    </dgm:pt>
    <dgm:pt modelId="{D2936899-753C-46F3-8C28-61EBE14A1628}" type="pres">
      <dgm:prSet presAssocID="{F3C98FD1-2738-436C-B746-5C8C32402705}" presName="base" presStyleLbl="dkBgShp" presStyleIdx="1" presStyleCnt="2" custFlipVert="1"/>
      <dgm:spPr/>
    </dgm:pt>
  </dgm:ptLst>
  <dgm:cxnLst>
    <dgm:cxn modelId="{17C7F505-CB27-486B-8586-34D1FB46DEF7}" type="presOf" srcId="{EA45C840-1782-4051-A01C-0BC92103589D}" destId="{D792A869-4778-4F2B-AB01-58DB00DA1F0C}" srcOrd="0" destOrd="0" presId="urn:microsoft.com/office/officeart/2005/8/layout/hList3"/>
    <dgm:cxn modelId="{7C94B81F-7927-4E2B-81B4-A390B8150DE4}" type="presOf" srcId="{951AFA1D-48CC-4F01-B718-D9EA2E407D9F}" destId="{F40879A2-28E3-4C28-99D7-5A75FC5ACB94}" srcOrd="0" destOrd="0" presId="urn:microsoft.com/office/officeart/2005/8/layout/hList3"/>
    <dgm:cxn modelId="{A6924842-DDDB-4B4C-92F8-DAE7D25C9F5F}" srcId="{F3C98FD1-2738-436C-B746-5C8C32402705}" destId="{951AFA1D-48CC-4F01-B718-D9EA2E407D9F}" srcOrd="0" destOrd="0" parTransId="{A2E9C27C-40E3-49A7-A230-6CE0220C3AE9}" sibTransId="{943F621F-1C11-46AC-9630-9C6B26810905}"/>
    <dgm:cxn modelId="{0E1E6E81-361B-4780-AC90-5665147E73B7}" type="presOf" srcId="{8596FF30-F955-4E45-A57F-4322F7F7CF31}" destId="{7C73FAC5-BB55-4A5B-B235-8B783871E452}" srcOrd="0" destOrd="0" presId="urn:microsoft.com/office/officeart/2005/8/layout/hList3"/>
    <dgm:cxn modelId="{BE33E89A-C42A-4D9C-A2EF-E83D3169C431}" type="presOf" srcId="{F168EDBB-6C59-489D-928C-BDB048836D7D}" destId="{A5733BA5-6DD1-4C50-BA58-795122F04156}" srcOrd="0" destOrd="0" presId="urn:microsoft.com/office/officeart/2005/8/layout/hList3"/>
    <dgm:cxn modelId="{7BB28CA4-6A55-4963-A1AA-D346A097ED5E}" srcId="{F3C98FD1-2738-436C-B746-5C8C32402705}" destId="{01623077-1D72-4676-B637-BC844D330C9D}" srcOrd="1" destOrd="0" parTransId="{8AFBF5FB-5241-4796-84ED-70FF02810EC7}" sibTransId="{3187FA7D-AE95-4FFB-92F3-51965582BDB6}"/>
    <dgm:cxn modelId="{D083F9AA-91D7-4677-A2F8-5D75428E3DC8}" type="presOf" srcId="{F3C98FD1-2738-436C-B746-5C8C32402705}" destId="{DC8547D4-F2C2-4F79-B65B-C4AB9A86B58A}" srcOrd="0" destOrd="0" presId="urn:microsoft.com/office/officeart/2005/8/layout/hList3"/>
    <dgm:cxn modelId="{1AE87DAD-B8A6-492B-843F-29D74466A3B8}" srcId="{F168EDBB-6C59-489D-928C-BDB048836D7D}" destId="{F3C98FD1-2738-436C-B746-5C8C32402705}" srcOrd="0" destOrd="0" parTransId="{20ADF578-F70B-4008-AC70-57FEA102FE9F}" sibTransId="{5CFE5279-F16A-4772-8710-52773315F814}"/>
    <dgm:cxn modelId="{4CCD07B4-03CB-4322-881E-92DC162977F8}" type="presOf" srcId="{01623077-1D72-4676-B637-BC844D330C9D}" destId="{1076BC11-668B-403F-8B4D-656BCC5ECE4D}" srcOrd="0" destOrd="0" presId="urn:microsoft.com/office/officeart/2005/8/layout/hList3"/>
    <dgm:cxn modelId="{F6319FCE-DBD2-468F-A32E-9FA8A7E681F7}" srcId="{F3C98FD1-2738-436C-B746-5C8C32402705}" destId="{EA45C840-1782-4051-A01C-0BC92103589D}" srcOrd="3" destOrd="0" parTransId="{65F428A0-7C06-42A2-8C33-7274FEABD122}" sibTransId="{113785B0-6469-47C8-B081-8EB458FC74CA}"/>
    <dgm:cxn modelId="{41DDF1FC-5D66-41CD-92CD-B3F0D3F08CA7}" srcId="{F3C98FD1-2738-436C-B746-5C8C32402705}" destId="{8596FF30-F955-4E45-A57F-4322F7F7CF31}" srcOrd="2" destOrd="0" parTransId="{99586522-1AEC-4155-A741-8019B5420CA6}" sibTransId="{D1703287-4F29-4550-9155-0D414282E763}"/>
    <dgm:cxn modelId="{AE638ABC-A7F2-400E-AC86-845B0FAE4146}" type="presParOf" srcId="{A5733BA5-6DD1-4C50-BA58-795122F04156}" destId="{DC8547D4-F2C2-4F79-B65B-C4AB9A86B58A}" srcOrd="0" destOrd="0" presId="urn:microsoft.com/office/officeart/2005/8/layout/hList3"/>
    <dgm:cxn modelId="{77D0BA7E-A835-4D6B-A9D0-1AFBE81AA1E3}" type="presParOf" srcId="{A5733BA5-6DD1-4C50-BA58-795122F04156}" destId="{D717876E-EBE4-43C9-AB7F-EDEEBEEC53D5}" srcOrd="1" destOrd="0" presId="urn:microsoft.com/office/officeart/2005/8/layout/hList3"/>
    <dgm:cxn modelId="{0AAF2CFF-DC4E-4624-8283-04AFC55B7E28}" type="presParOf" srcId="{D717876E-EBE4-43C9-AB7F-EDEEBEEC53D5}" destId="{F40879A2-28E3-4C28-99D7-5A75FC5ACB94}" srcOrd="0" destOrd="0" presId="urn:microsoft.com/office/officeart/2005/8/layout/hList3"/>
    <dgm:cxn modelId="{B659EDB3-F6C4-4871-B981-044A3F7754D6}" type="presParOf" srcId="{D717876E-EBE4-43C9-AB7F-EDEEBEEC53D5}" destId="{1076BC11-668B-403F-8B4D-656BCC5ECE4D}" srcOrd="1" destOrd="0" presId="urn:microsoft.com/office/officeart/2005/8/layout/hList3"/>
    <dgm:cxn modelId="{C1C36E0A-4CA6-4D71-B08B-4FBFAA801D6D}" type="presParOf" srcId="{D717876E-EBE4-43C9-AB7F-EDEEBEEC53D5}" destId="{7C73FAC5-BB55-4A5B-B235-8B783871E452}" srcOrd="2" destOrd="0" presId="urn:microsoft.com/office/officeart/2005/8/layout/hList3"/>
    <dgm:cxn modelId="{3CDBFD4C-026E-4338-9010-ADA8E1518A4C}" type="presParOf" srcId="{D717876E-EBE4-43C9-AB7F-EDEEBEEC53D5}" destId="{D792A869-4778-4F2B-AB01-58DB00DA1F0C}" srcOrd="3" destOrd="0" presId="urn:microsoft.com/office/officeart/2005/8/layout/hList3"/>
    <dgm:cxn modelId="{20069E16-B224-4C5A-A8B7-CE2D69250352}" type="presParOf" srcId="{A5733BA5-6DD1-4C50-BA58-795122F04156}" destId="{D2936899-753C-46F3-8C28-61EBE14A1628}"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F216EE-A509-4975-9FB0-3FBFB87A3505}"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3997B575-27F0-4B50-AC21-A3464CD31291}">
      <dgm:prSet phldrT="[Text]"/>
      <dgm:spPr/>
      <dgm:t>
        <a:bodyPr/>
        <a:lstStyle/>
        <a:p>
          <a:r>
            <a:rPr lang="en-US" dirty="0"/>
            <a:t>Request for Proposals</a:t>
          </a:r>
        </a:p>
      </dgm:t>
    </dgm:pt>
    <dgm:pt modelId="{772C94B7-3CB2-4D04-A4C3-9F209BAE4DEC}" type="parTrans" cxnId="{698084C4-1425-45E1-ABD7-4760E432BF98}">
      <dgm:prSet/>
      <dgm:spPr/>
      <dgm:t>
        <a:bodyPr/>
        <a:lstStyle/>
        <a:p>
          <a:endParaRPr lang="en-US"/>
        </a:p>
      </dgm:t>
    </dgm:pt>
    <dgm:pt modelId="{1B6B6942-02C6-4C86-AB57-7090EE9986ED}" type="sibTrans" cxnId="{698084C4-1425-45E1-ABD7-4760E432BF98}">
      <dgm:prSet/>
      <dgm:spPr/>
      <dgm:t>
        <a:bodyPr/>
        <a:lstStyle/>
        <a:p>
          <a:endParaRPr lang="en-US"/>
        </a:p>
      </dgm:t>
    </dgm:pt>
    <dgm:pt modelId="{42B7EA77-1D92-45CF-A154-6094609F9665}">
      <dgm:prSet phldrT="[Text]"/>
      <dgm:spPr>
        <a:solidFill>
          <a:srgbClr val="006600"/>
        </a:solidFill>
      </dgm:spPr>
      <dgm:t>
        <a:bodyPr/>
        <a:lstStyle/>
        <a:p>
          <a:r>
            <a:rPr lang="en-US" dirty="0"/>
            <a:t>Competitive</a:t>
          </a:r>
        </a:p>
      </dgm:t>
    </dgm:pt>
    <dgm:pt modelId="{F1851DD1-734E-4BF4-9924-1AD2EB611DBC}" type="parTrans" cxnId="{CF13D88E-80BB-4C54-8817-896489FCB74B}">
      <dgm:prSet/>
      <dgm:spPr/>
      <dgm:t>
        <a:bodyPr/>
        <a:lstStyle/>
        <a:p>
          <a:endParaRPr lang="en-US"/>
        </a:p>
      </dgm:t>
    </dgm:pt>
    <dgm:pt modelId="{8A3A121A-FAED-4367-ABCC-365BE0061734}" type="sibTrans" cxnId="{CF13D88E-80BB-4C54-8817-896489FCB74B}">
      <dgm:prSet/>
      <dgm:spPr/>
      <dgm:t>
        <a:bodyPr/>
        <a:lstStyle/>
        <a:p>
          <a:endParaRPr lang="en-US"/>
        </a:p>
      </dgm:t>
    </dgm:pt>
    <dgm:pt modelId="{552DEA1B-4DA7-4CEE-9408-898720C70C73}">
      <dgm:prSet phldrT="[Text]"/>
      <dgm:spPr>
        <a:solidFill>
          <a:srgbClr val="006600"/>
        </a:solidFill>
      </dgm:spPr>
      <dgm:t>
        <a:bodyPr/>
        <a:lstStyle/>
        <a:p>
          <a:r>
            <a:rPr lang="en-US" dirty="0" err="1"/>
            <a:t>Offeror</a:t>
          </a:r>
          <a:r>
            <a:rPr lang="en-US" dirty="0"/>
            <a:t> 1</a:t>
          </a:r>
        </a:p>
      </dgm:t>
    </dgm:pt>
    <dgm:pt modelId="{2648E61D-7DAD-465F-8566-A1DFD4A09ABF}" type="parTrans" cxnId="{698EE1D1-7DB5-4D31-BFEA-782F08757605}">
      <dgm:prSet/>
      <dgm:spPr/>
      <dgm:t>
        <a:bodyPr/>
        <a:lstStyle/>
        <a:p>
          <a:endParaRPr lang="en-US"/>
        </a:p>
      </dgm:t>
    </dgm:pt>
    <dgm:pt modelId="{822FF02F-5243-4C6D-BDCD-C2510AEB4B0B}" type="sibTrans" cxnId="{698EE1D1-7DB5-4D31-BFEA-782F08757605}">
      <dgm:prSet/>
      <dgm:spPr/>
      <dgm:t>
        <a:bodyPr/>
        <a:lstStyle/>
        <a:p>
          <a:endParaRPr lang="en-US"/>
        </a:p>
      </dgm:t>
    </dgm:pt>
    <dgm:pt modelId="{6543BF99-618D-405A-9B82-B34D4B1F86FA}">
      <dgm:prSet phldrT="[Text]"/>
      <dgm:spPr>
        <a:solidFill>
          <a:srgbClr val="006600"/>
        </a:solidFill>
      </dgm:spPr>
      <dgm:t>
        <a:bodyPr/>
        <a:lstStyle/>
        <a:p>
          <a:r>
            <a:rPr lang="en-US" dirty="0" err="1"/>
            <a:t>Offeror</a:t>
          </a:r>
          <a:r>
            <a:rPr lang="en-US" dirty="0"/>
            <a:t> 2</a:t>
          </a:r>
        </a:p>
      </dgm:t>
    </dgm:pt>
    <dgm:pt modelId="{02CDF4C0-30B2-4A3E-B6B4-80CF8F8D5D79}" type="parTrans" cxnId="{0518AAF1-BAD0-470E-8B9E-D01E7553184C}">
      <dgm:prSet/>
      <dgm:spPr/>
      <dgm:t>
        <a:bodyPr/>
        <a:lstStyle/>
        <a:p>
          <a:endParaRPr lang="en-US"/>
        </a:p>
      </dgm:t>
    </dgm:pt>
    <dgm:pt modelId="{E1662901-EF3B-43C8-9936-6ACB7E799572}" type="sibTrans" cxnId="{0518AAF1-BAD0-470E-8B9E-D01E7553184C}">
      <dgm:prSet/>
      <dgm:spPr/>
      <dgm:t>
        <a:bodyPr/>
        <a:lstStyle/>
        <a:p>
          <a:endParaRPr lang="en-US"/>
        </a:p>
      </dgm:t>
    </dgm:pt>
    <dgm:pt modelId="{FB465EA1-3041-4632-B5FB-B477DA9E5563}">
      <dgm:prSet phldrT="[Text]"/>
      <dgm:spPr>
        <a:solidFill>
          <a:srgbClr val="FF0000"/>
        </a:solidFill>
      </dgm:spPr>
      <dgm:t>
        <a:bodyPr/>
        <a:lstStyle/>
        <a:p>
          <a:r>
            <a:rPr lang="en-US" dirty="0"/>
            <a:t>Non-Competitive</a:t>
          </a:r>
        </a:p>
      </dgm:t>
    </dgm:pt>
    <dgm:pt modelId="{599C559B-9BA2-48F2-AE00-C2968B7426F5}" type="parTrans" cxnId="{90EF8E55-DBCC-4905-817C-139D2B1A02BB}">
      <dgm:prSet/>
      <dgm:spPr/>
      <dgm:t>
        <a:bodyPr/>
        <a:lstStyle/>
        <a:p>
          <a:endParaRPr lang="en-US"/>
        </a:p>
      </dgm:t>
    </dgm:pt>
    <dgm:pt modelId="{5F91AD4E-2EA4-46DB-9EA8-2A2D7DC7DE07}" type="sibTrans" cxnId="{90EF8E55-DBCC-4905-817C-139D2B1A02BB}">
      <dgm:prSet/>
      <dgm:spPr/>
      <dgm:t>
        <a:bodyPr/>
        <a:lstStyle/>
        <a:p>
          <a:endParaRPr lang="en-US"/>
        </a:p>
      </dgm:t>
    </dgm:pt>
    <dgm:pt modelId="{3CE7C63E-C3E1-442D-A17B-0BC83AD2B7F6}">
      <dgm:prSet phldrT="[Text]"/>
      <dgm:spPr>
        <a:solidFill>
          <a:srgbClr val="FFFF00"/>
        </a:solidFill>
      </dgm:spPr>
      <dgm:t>
        <a:bodyPr/>
        <a:lstStyle/>
        <a:p>
          <a:r>
            <a:rPr lang="en-US" dirty="0"/>
            <a:t>Announcement</a:t>
          </a:r>
        </a:p>
      </dgm:t>
    </dgm:pt>
    <dgm:pt modelId="{589916C2-7AE0-4B58-966B-8FACB9505687}" type="parTrans" cxnId="{B072C158-5E7D-47A5-9435-7CBCE2A5E320}">
      <dgm:prSet/>
      <dgm:spPr/>
      <dgm:t>
        <a:bodyPr/>
        <a:lstStyle/>
        <a:p>
          <a:endParaRPr lang="en-US"/>
        </a:p>
      </dgm:t>
    </dgm:pt>
    <dgm:pt modelId="{B5D8DE48-B089-4F46-9802-B91492DF95B9}" type="sibTrans" cxnId="{B072C158-5E7D-47A5-9435-7CBCE2A5E320}">
      <dgm:prSet/>
      <dgm:spPr/>
      <dgm:t>
        <a:bodyPr/>
        <a:lstStyle/>
        <a:p>
          <a:endParaRPr lang="en-US"/>
        </a:p>
      </dgm:t>
    </dgm:pt>
    <dgm:pt modelId="{88D5618B-6C84-448A-9B87-5ECFE992EE88}">
      <dgm:prSet phldrT="[Text]"/>
      <dgm:spPr>
        <a:solidFill>
          <a:schemeClr val="tx2">
            <a:lumMod val="10000"/>
          </a:schemeClr>
        </a:solidFill>
      </dgm:spPr>
      <dgm:t>
        <a:bodyPr/>
        <a:lstStyle/>
        <a:p>
          <a:r>
            <a:rPr lang="en-US" dirty="0">
              <a:solidFill>
                <a:schemeClr val="tx1"/>
              </a:solidFill>
            </a:rPr>
            <a:t>Exchanges</a:t>
          </a:r>
        </a:p>
      </dgm:t>
    </dgm:pt>
    <dgm:pt modelId="{198B4530-9C7B-467D-A990-3324D3894093}" type="parTrans" cxnId="{B91AA5C5-F849-4DCD-93B8-0E8965418546}">
      <dgm:prSet/>
      <dgm:spPr/>
      <dgm:t>
        <a:bodyPr/>
        <a:lstStyle/>
        <a:p>
          <a:endParaRPr lang="en-US"/>
        </a:p>
      </dgm:t>
    </dgm:pt>
    <dgm:pt modelId="{4537B113-40E8-46A6-B44A-EA9DA5B6B9BD}" type="sibTrans" cxnId="{B91AA5C5-F849-4DCD-93B8-0E8965418546}">
      <dgm:prSet/>
      <dgm:spPr/>
      <dgm:t>
        <a:bodyPr/>
        <a:lstStyle/>
        <a:p>
          <a:endParaRPr lang="en-US"/>
        </a:p>
      </dgm:t>
    </dgm:pt>
    <dgm:pt modelId="{B08771E8-5E15-4839-A712-B5EDF4F4BA90}">
      <dgm:prSet phldrT="[Text]"/>
      <dgm:spPr>
        <a:solidFill>
          <a:schemeClr val="bg2">
            <a:lumMod val="90000"/>
            <a:lumOff val="10000"/>
          </a:schemeClr>
        </a:solidFill>
      </dgm:spPr>
      <dgm:t>
        <a:bodyPr/>
        <a:lstStyle/>
        <a:p>
          <a:r>
            <a:rPr lang="en-US" dirty="0">
              <a:solidFill>
                <a:schemeClr val="tx1"/>
              </a:solidFill>
            </a:rPr>
            <a:t>Submissions</a:t>
          </a:r>
        </a:p>
      </dgm:t>
    </dgm:pt>
    <dgm:pt modelId="{928CE0DC-1A20-4705-93BD-C1D5DB032493}" type="sibTrans" cxnId="{9C0A3338-EDD4-43CB-9D2F-1EFA882AA4B5}">
      <dgm:prSet/>
      <dgm:spPr/>
      <dgm:t>
        <a:bodyPr/>
        <a:lstStyle/>
        <a:p>
          <a:endParaRPr lang="en-US"/>
        </a:p>
      </dgm:t>
    </dgm:pt>
    <dgm:pt modelId="{1C9E6380-EEFD-46F4-86D7-752246BD8F76}" type="parTrans" cxnId="{9C0A3338-EDD4-43CB-9D2F-1EFA882AA4B5}">
      <dgm:prSet/>
      <dgm:spPr/>
      <dgm:t>
        <a:bodyPr/>
        <a:lstStyle/>
        <a:p>
          <a:endParaRPr lang="en-US"/>
        </a:p>
      </dgm:t>
    </dgm:pt>
    <dgm:pt modelId="{0062BED5-B517-4E6C-90EC-8E80331709FC}">
      <dgm:prSet phldrT="[Text]"/>
      <dgm:spPr>
        <a:solidFill>
          <a:srgbClr val="FFFF00"/>
        </a:solidFill>
      </dgm:spPr>
      <dgm:t>
        <a:bodyPr/>
        <a:lstStyle/>
        <a:p>
          <a:r>
            <a:rPr lang="en-US" dirty="0"/>
            <a:t>Award</a:t>
          </a:r>
        </a:p>
      </dgm:t>
    </dgm:pt>
    <dgm:pt modelId="{DBD38BE1-B586-4AD7-BB3D-CD3D8D8F1569}" type="parTrans" cxnId="{EF1138B8-C38D-4461-AAFF-F02455336134}">
      <dgm:prSet/>
      <dgm:spPr/>
      <dgm:t>
        <a:bodyPr/>
        <a:lstStyle/>
        <a:p>
          <a:endParaRPr lang="en-US"/>
        </a:p>
      </dgm:t>
    </dgm:pt>
    <dgm:pt modelId="{DA5C90EA-E75D-48C1-A489-E625D11F6E48}" type="sibTrans" cxnId="{EF1138B8-C38D-4461-AAFF-F02455336134}">
      <dgm:prSet/>
      <dgm:spPr/>
      <dgm:t>
        <a:bodyPr/>
        <a:lstStyle/>
        <a:p>
          <a:endParaRPr lang="en-US"/>
        </a:p>
      </dgm:t>
    </dgm:pt>
    <dgm:pt modelId="{C1FB6E80-4DA7-47C3-93EE-2354E541D210}">
      <dgm:prSet/>
      <dgm:spPr>
        <a:solidFill>
          <a:srgbClr val="00FF00"/>
        </a:solidFill>
      </dgm:spPr>
      <dgm:t>
        <a:bodyPr/>
        <a:lstStyle/>
        <a:p>
          <a:r>
            <a:rPr lang="en-US" b="1" dirty="0" err="1"/>
            <a:t>Awardee</a:t>
          </a:r>
          <a:endParaRPr lang="en-US" b="1" dirty="0"/>
        </a:p>
      </dgm:t>
    </dgm:pt>
    <dgm:pt modelId="{EAAD5FDA-535E-4A9B-892A-276A5C4E97FE}" type="parTrans" cxnId="{F6038854-2850-4766-ACE2-19B1781C401B}">
      <dgm:prSet/>
      <dgm:spPr/>
      <dgm:t>
        <a:bodyPr/>
        <a:lstStyle/>
        <a:p>
          <a:endParaRPr lang="en-US"/>
        </a:p>
      </dgm:t>
    </dgm:pt>
    <dgm:pt modelId="{66D5DFD7-8D0D-4F7D-B25E-CF3A58A2020A}" type="sibTrans" cxnId="{F6038854-2850-4766-ACE2-19B1781C401B}">
      <dgm:prSet/>
      <dgm:spPr/>
      <dgm:t>
        <a:bodyPr/>
        <a:lstStyle/>
        <a:p>
          <a:endParaRPr lang="en-US"/>
        </a:p>
      </dgm:t>
    </dgm:pt>
    <dgm:pt modelId="{3CC7DEED-7780-45E4-AA2F-DB2AAA5B0CE9}" type="pres">
      <dgm:prSet presAssocID="{53F216EE-A509-4975-9FB0-3FBFB87A3505}" presName="mainComposite" presStyleCnt="0">
        <dgm:presLayoutVars>
          <dgm:chPref val="1"/>
          <dgm:dir/>
          <dgm:animOne val="branch"/>
          <dgm:animLvl val="lvl"/>
          <dgm:resizeHandles val="exact"/>
        </dgm:presLayoutVars>
      </dgm:prSet>
      <dgm:spPr/>
    </dgm:pt>
    <dgm:pt modelId="{DF1F92DF-DECF-46F3-8831-72392E5143C7}" type="pres">
      <dgm:prSet presAssocID="{53F216EE-A509-4975-9FB0-3FBFB87A3505}" presName="hierFlow" presStyleCnt="0"/>
      <dgm:spPr/>
    </dgm:pt>
    <dgm:pt modelId="{B4768AB1-ACA3-4ECA-A0C2-ED5F7932AE71}" type="pres">
      <dgm:prSet presAssocID="{53F216EE-A509-4975-9FB0-3FBFB87A3505}" presName="firstBuf" presStyleCnt="0"/>
      <dgm:spPr/>
    </dgm:pt>
    <dgm:pt modelId="{153BDD3A-DE43-4B7B-8B8A-904A101B7C5D}" type="pres">
      <dgm:prSet presAssocID="{53F216EE-A509-4975-9FB0-3FBFB87A3505}" presName="hierChild1" presStyleCnt="0">
        <dgm:presLayoutVars>
          <dgm:chPref val="1"/>
          <dgm:animOne val="branch"/>
          <dgm:animLvl val="lvl"/>
        </dgm:presLayoutVars>
      </dgm:prSet>
      <dgm:spPr/>
    </dgm:pt>
    <dgm:pt modelId="{5676B50E-F0C4-472A-8416-7A4F89E74CF7}" type="pres">
      <dgm:prSet presAssocID="{3997B575-27F0-4B50-AC21-A3464CD31291}" presName="Name14" presStyleCnt="0"/>
      <dgm:spPr/>
    </dgm:pt>
    <dgm:pt modelId="{24AFDD48-AD82-44AC-B1C8-DAA464289C4B}" type="pres">
      <dgm:prSet presAssocID="{3997B575-27F0-4B50-AC21-A3464CD31291}" presName="level1Shape" presStyleLbl="node0" presStyleIdx="0" presStyleCnt="1">
        <dgm:presLayoutVars>
          <dgm:chPref val="3"/>
        </dgm:presLayoutVars>
      </dgm:prSet>
      <dgm:spPr/>
    </dgm:pt>
    <dgm:pt modelId="{D312920F-955C-44E0-B077-8A17940708D7}" type="pres">
      <dgm:prSet presAssocID="{3997B575-27F0-4B50-AC21-A3464CD31291}" presName="hierChild2" presStyleCnt="0"/>
      <dgm:spPr/>
    </dgm:pt>
    <dgm:pt modelId="{0F922240-AA8E-49CD-836A-3F97042A59C8}" type="pres">
      <dgm:prSet presAssocID="{F1851DD1-734E-4BF4-9924-1AD2EB611DBC}" presName="Name19" presStyleLbl="parChTrans1D2" presStyleIdx="0" presStyleCnt="2"/>
      <dgm:spPr/>
    </dgm:pt>
    <dgm:pt modelId="{C41D83DB-2414-4579-A66C-B8238F1E2143}" type="pres">
      <dgm:prSet presAssocID="{42B7EA77-1D92-45CF-A154-6094609F9665}" presName="Name21" presStyleCnt="0"/>
      <dgm:spPr/>
    </dgm:pt>
    <dgm:pt modelId="{114B6532-3079-4B05-938F-6DA9D79BF331}" type="pres">
      <dgm:prSet presAssocID="{42B7EA77-1D92-45CF-A154-6094609F9665}" presName="level2Shape" presStyleLbl="node2" presStyleIdx="0" presStyleCnt="2" custLinFactNeighborX="-23592" custLinFactNeighborY="-161"/>
      <dgm:spPr/>
    </dgm:pt>
    <dgm:pt modelId="{AA53749D-2EC1-47F5-AD00-C7580E15A4CA}" type="pres">
      <dgm:prSet presAssocID="{42B7EA77-1D92-45CF-A154-6094609F9665}" presName="hierChild3" presStyleCnt="0"/>
      <dgm:spPr/>
    </dgm:pt>
    <dgm:pt modelId="{2DD24E80-FCF3-4DF0-94FC-E89830CC51BF}" type="pres">
      <dgm:prSet presAssocID="{2648E61D-7DAD-465F-8566-A1DFD4A09ABF}" presName="Name19" presStyleLbl="parChTrans1D3" presStyleIdx="0" presStyleCnt="2"/>
      <dgm:spPr/>
    </dgm:pt>
    <dgm:pt modelId="{2DEC933F-A716-4885-93BB-01468D8D1B46}" type="pres">
      <dgm:prSet presAssocID="{552DEA1B-4DA7-4CEE-9408-898720C70C73}" presName="Name21" presStyleCnt="0"/>
      <dgm:spPr/>
    </dgm:pt>
    <dgm:pt modelId="{9DB03B7A-EB7D-4118-944D-BCB335F85C37}" type="pres">
      <dgm:prSet presAssocID="{552DEA1B-4DA7-4CEE-9408-898720C70C73}" presName="level2Shape" presStyleLbl="node3" presStyleIdx="0" presStyleCnt="2" custScaleX="109949" custScaleY="99434" custLinFactNeighborX="-745" custLinFactNeighborY="-4306"/>
      <dgm:spPr/>
    </dgm:pt>
    <dgm:pt modelId="{3BD3FBD6-767C-49B8-B9CD-DA59E10D2C65}" type="pres">
      <dgm:prSet presAssocID="{552DEA1B-4DA7-4CEE-9408-898720C70C73}" presName="hierChild3" presStyleCnt="0"/>
      <dgm:spPr/>
    </dgm:pt>
    <dgm:pt modelId="{BDDE437B-2574-4436-9622-445D381637AA}" type="pres">
      <dgm:prSet presAssocID="{EAAD5FDA-535E-4A9B-892A-276A5C4E97FE}" presName="Name19" presStyleLbl="parChTrans1D4" presStyleIdx="0" presStyleCnt="1"/>
      <dgm:spPr/>
    </dgm:pt>
    <dgm:pt modelId="{03308127-9A7E-4B19-9F9D-54F313891EA4}" type="pres">
      <dgm:prSet presAssocID="{C1FB6E80-4DA7-47C3-93EE-2354E541D210}" presName="Name21" presStyleCnt="0"/>
      <dgm:spPr/>
    </dgm:pt>
    <dgm:pt modelId="{A675E7DB-75A1-4E73-B89A-B39FD133694C}" type="pres">
      <dgm:prSet presAssocID="{C1FB6E80-4DA7-47C3-93EE-2354E541D210}" presName="level2Shape" presStyleLbl="node4" presStyleIdx="0" presStyleCnt="1"/>
      <dgm:spPr/>
    </dgm:pt>
    <dgm:pt modelId="{2E1DE82F-F550-4780-82B7-DF12DD8B89E3}" type="pres">
      <dgm:prSet presAssocID="{C1FB6E80-4DA7-47C3-93EE-2354E541D210}" presName="hierChild3" presStyleCnt="0"/>
      <dgm:spPr/>
    </dgm:pt>
    <dgm:pt modelId="{0481EBAF-8FC2-4504-A12E-2EBEF60CA86E}" type="pres">
      <dgm:prSet presAssocID="{02CDF4C0-30B2-4A3E-B6B4-80CF8F8D5D79}" presName="Name19" presStyleLbl="parChTrans1D3" presStyleIdx="1" presStyleCnt="2"/>
      <dgm:spPr/>
    </dgm:pt>
    <dgm:pt modelId="{3D733411-7BC2-4A70-B1E5-FED63495846A}" type="pres">
      <dgm:prSet presAssocID="{6543BF99-618D-405A-9B82-B34D4B1F86FA}" presName="Name21" presStyleCnt="0"/>
      <dgm:spPr/>
    </dgm:pt>
    <dgm:pt modelId="{D20B87D6-8B0E-4124-8D42-439208D13FA6}" type="pres">
      <dgm:prSet presAssocID="{6543BF99-618D-405A-9B82-B34D4B1F86FA}" presName="level2Shape" presStyleLbl="node3" presStyleIdx="1" presStyleCnt="2" custLinFactNeighborX="-9914" custLinFactNeighborY="-4306"/>
      <dgm:spPr/>
    </dgm:pt>
    <dgm:pt modelId="{FAF3B587-0E03-4094-9A59-14C90D6DADCA}" type="pres">
      <dgm:prSet presAssocID="{6543BF99-618D-405A-9B82-B34D4B1F86FA}" presName="hierChild3" presStyleCnt="0"/>
      <dgm:spPr/>
    </dgm:pt>
    <dgm:pt modelId="{7B5A69F3-9001-4836-91E3-F0301FAC7D97}" type="pres">
      <dgm:prSet presAssocID="{599C559B-9BA2-48F2-AE00-C2968B7426F5}" presName="Name19" presStyleLbl="parChTrans1D2" presStyleIdx="1" presStyleCnt="2"/>
      <dgm:spPr/>
    </dgm:pt>
    <dgm:pt modelId="{951C7E1E-DF09-411C-BEBF-33BDA3A177E4}" type="pres">
      <dgm:prSet presAssocID="{FB465EA1-3041-4632-B5FB-B477DA9E5563}" presName="Name21" presStyleCnt="0"/>
      <dgm:spPr/>
    </dgm:pt>
    <dgm:pt modelId="{8E5BEE6D-DB83-4FB7-9AA0-B0F1F7BFDB53}" type="pres">
      <dgm:prSet presAssocID="{FB465EA1-3041-4632-B5FB-B477DA9E5563}" presName="level2Shape" presStyleLbl="node2" presStyleIdx="1" presStyleCnt="2" custLinFactNeighborX="-4058" custLinFactNeighborY="-161"/>
      <dgm:spPr/>
    </dgm:pt>
    <dgm:pt modelId="{BCECB018-AE5F-4192-B710-FF1C98E1D1F5}" type="pres">
      <dgm:prSet presAssocID="{FB465EA1-3041-4632-B5FB-B477DA9E5563}" presName="hierChild3" presStyleCnt="0"/>
      <dgm:spPr/>
    </dgm:pt>
    <dgm:pt modelId="{325B14C7-F672-4891-8C1D-39811BA6D1C9}" type="pres">
      <dgm:prSet presAssocID="{53F216EE-A509-4975-9FB0-3FBFB87A3505}" presName="bgShapesFlow" presStyleCnt="0"/>
      <dgm:spPr/>
    </dgm:pt>
    <dgm:pt modelId="{85F3693A-0683-41AE-AF39-DEE6E36847E5}" type="pres">
      <dgm:prSet presAssocID="{3CE7C63E-C3E1-442D-A17B-0BC83AD2B7F6}" presName="rectComp" presStyleCnt="0"/>
      <dgm:spPr/>
    </dgm:pt>
    <dgm:pt modelId="{B31F27A6-F4C8-40B1-A169-AEA5C5580F4D}" type="pres">
      <dgm:prSet presAssocID="{3CE7C63E-C3E1-442D-A17B-0BC83AD2B7F6}" presName="bgRect" presStyleLbl="bgShp" presStyleIdx="0" presStyleCnt="4"/>
      <dgm:spPr/>
    </dgm:pt>
    <dgm:pt modelId="{47529BC1-8C08-46B5-BDF6-1F4D7FB95504}" type="pres">
      <dgm:prSet presAssocID="{3CE7C63E-C3E1-442D-A17B-0BC83AD2B7F6}" presName="bgRectTx" presStyleLbl="bgShp" presStyleIdx="0" presStyleCnt="4">
        <dgm:presLayoutVars>
          <dgm:bulletEnabled val="1"/>
        </dgm:presLayoutVars>
      </dgm:prSet>
      <dgm:spPr/>
    </dgm:pt>
    <dgm:pt modelId="{D2686AD2-D188-4D57-A406-20960A18DB5D}" type="pres">
      <dgm:prSet presAssocID="{3CE7C63E-C3E1-442D-A17B-0BC83AD2B7F6}" presName="spComp" presStyleCnt="0"/>
      <dgm:spPr/>
    </dgm:pt>
    <dgm:pt modelId="{9449EF36-061E-4D1C-BD9E-44CDA59B9121}" type="pres">
      <dgm:prSet presAssocID="{3CE7C63E-C3E1-442D-A17B-0BC83AD2B7F6}" presName="vSp" presStyleCnt="0"/>
      <dgm:spPr/>
    </dgm:pt>
    <dgm:pt modelId="{9488ADBE-141E-4EEF-B74E-2A65355ADB07}" type="pres">
      <dgm:prSet presAssocID="{B08771E8-5E15-4839-A712-B5EDF4F4BA90}" presName="rectComp" presStyleCnt="0"/>
      <dgm:spPr/>
    </dgm:pt>
    <dgm:pt modelId="{303F70A9-2B23-4F03-8A43-14BC345F85F4}" type="pres">
      <dgm:prSet presAssocID="{B08771E8-5E15-4839-A712-B5EDF4F4BA90}" presName="bgRect" presStyleLbl="bgShp" presStyleIdx="1" presStyleCnt="4"/>
      <dgm:spPr/>
    </dgm:pt>
    <dgm:pt modelId="{9DD2A854-1CB3-42A6-8AB8-B436CE86895A}" type="pres">
      <dgm:prSet presAssocID="{B08771E8-5E15-4839-A712-B5EDF4F4BA90}" presName="bgRectTx" presStyleLbl="bgShp" presStyleIdx="1" presStyleCnt="4">
        <dgm:presLayoutVars>
          <dgm:bulletEnabled val="1"/>
        </dgm:presLayoutVars>
      </dgm:prSet>
      <dgm:spPr/>
    </dgm:pt>
    <dgm:pt modelId="{219F6C24-EB4E-4710-9DCD-304BF334BC17}" type="pres">
      <dgm:prSet presAssocID="{B08771E8-5E15-4839-A712-B5EDF4F4BA90}" presName="spComp" presStyleCnt="0"/>
      <dgm:spPr/>
    </dgm:pt>
    <dgm:pt modelId="{076DF58B-7516-4D98-9641-18CBF0E0D4B6}" type="pres">
      <dgm:prSet presAssocID="{B08771E8-5E15-4839-A712-B5EDF4F4BA90}" presName="vSp" presStyleCnt="0"/>
      <dgm:spPr/>
    </dgm:pt>
    <dgm:pt modelId="{4A8C9DC1-8C06-4AD7-BEF9-9C1E9123760F}" type="pres">
      <dgm:prSet presAssocID="{88D5618B-6C84-448A-9B87-5ECFE992EE88}" presName="rectComp" presStyleCnt="0"/>
      <dgm:spPr/>
    </dgm:pt>
    <dgm:pt modelId="{A0EEEDB7-83FB-481B-9FA7-11D3C718D7CB}" type="pres">
      <dgm:prSet presAssocID="{88D5618B-6C84-448A-9B87-5ECFE992EE88}" presName="bgRect" presStyleLbl="bgShp" presStyleIdx="2" presStyleCnt="4"/>
      <dgm:spPr/>
    </dgm:pt>
    <dgm:pt modelId="{C837F271-5EA7-4636-AC74-49D56FB8B255}" type="pres">
      <dgm:prSet presAssocID="{88D5618B-6C84-448A-9B87-5ECFE992EE88}" presName="bgRectTx" presStyleLbl="bgShp" presStyleIdx="2" presStyleCnt="4">
        <dgm:presLayoutVars>
          <dgm:bulletEnabled val="1"/>
        </dgm:presLayoutVars>
      </dgm:prSet>
      <dgm:spPr/>
    </dgm:pt>
    <dgm:pt modelId="{E95027D1-508A-4924-BB4F-9622F3C5B5C1}" type="pres">
      <dgm:prSet presAssocID="{88D5618B-6C84-448A-9B87-5ECFE992EE88}" presName="spComp" presStyleCnt="0"/>
      <dgm:spPr/>
    </dgm:pt>
    <dgm:pt modelId="{CA6F9002-86F3-4C80-8149-08E640FD3B91}" type="pres">
      <dgm:prSet presAssocID="{88D5618B-6C84-448A-9B87-5ECFE992EE88}" presName="vSp" presStyleCnt="0"/>
      <dgm:spPr/>
    </dgm:pt>
    <dgm:pt modelId="{041C18DE-8749-4E1F-B624-849CE99FC449}" type="pres">
      <dgm:prSet presAssocID="{0062BED5-B517-4E6C-90EC-8E80331709FC}" presName="rectComp" presStyleCnt="0"/>
      <dgm:spPr/>
    </dgm:pt>
    <dgm:pt modelId="{EE1BECC8-B7BF-47D5-AA14-5F106E6CAA71}" type="pres">
      <dgm:prSet presAssocID="{0062BED5-B517-4E6C-90EC-8E80331709FC}" presName="bgRect" presStyleLbl="bgShp" presStyleIdx="3" presStyleCnt="4"/>
      <dgm:spPr/>
    </dgm:pt>
    <dgm:pt modelId="{90653EBC-9301-4D5D-86CF-2006DDD320C0}" type="pres">
      <dgm:prSet presAssocID="{0062BED5-B517-4E6C-90EC-8E80331709FC}" presName="bgRectTx" presStyleLbl="bgShp" presStyleIdx="3" presStyleCnt="4">
        <dgm:presLayoutVars>
          <dgm:bulletEnabled val="1"/>
        </dgm:presLayoutVars>
      </dgm:prSet>
      <dgm:spPr/>
    </dgm:pt>
  </dgm:ptLst>
  <dgm:cxnLst>
    <dgm:cxn modelId="{AC8F8B05-414C-4927-A207-88FE6EB6DA17}" type="presOf" srcId="{FB465EA1-3041-4632-B5FB-B477DA9E5563}" destId="{8E5BEE6D-DB83-4FB7-9AA0-B0F1F7BFDB53}" srcOrd="0" destOrd="0" presId="urn:microsoft.com/office/officeart/2005/8/layout/hierarchy6"/>
    <dgm:cxn modelId="{E7B79917-CFD9-48DF-9DDB-C06EC75C4827}" type="presOf" srcId="{0062BED5-B517-4E6C-90EC-8E80331709FC}" destId="{EE1BECC8-B7BF-47D5-AA14-5F106E6CAA71}" srcOrd="0" destOrd="0" presId="urn:microsoft.com/office/officeart/2005/8/layout/hierarchy6"/>
    <dgm:cxn modelId="{4671812A-D802-44F5-B045-FE1969E8C1DF}" type="presOf" srcId="{552DEA1B-4DA7-4CEE-9408-898720C70C73}" destId="{9DB03B7A-EB7D-4118-944D-BCB335F85C37}" srcOrd="0" destOrd="0" presId="urn:microsoft.com/office/officeart/2005/8/layout/hierarchy6"/>
    <dgm:cxn modelId="{3E495F2C-D488-4394-A9A5-A1ACE90C466A}" type="presOf" srcId="{0062BED5-B517-4E6C-90EC-8E80331709FC}" destId="{90653EBC-9301-4D5D-86CF-2006DDD320C0}" srcOrd="1" destOrd="0" presId="urn:microsoft.com/office/officeart/2005/8/layout/hierarchy6"/>
    <dgm:cxn modelId="{A30C4232-1A46-4123-85BA-9FC629C8EDFC}" type="presOf" srcId="{3CE7C63E-C3E1-442D-A17B-0BC83AD2B7F6}" destId="{47529BC1-8C08-46B5-BDF6-1F4D7FB95504}" srcOrd="1" destOrd="0" presId="urn:microsoft.com/office/officeart/2005/8/layout/hierarchy6"/>
    <dgm:cxn modelId="{35F37732-B139-4B4B-A4A7-EDE62BF18CCB}" type="presOf" srcId="{3CE7C63E-C3E1-442D-A17B-0BC83AD2B7F6}" destId="{B31F27A6-F4C8-40B1-A169-AEA5C5580F4D}" srcOrd="0" destOrd="0" presId="urn:microsoft.com/office/officeart/2005/8/layout/hierarchy6"/>
    <dgm:cxn modelId="{403AF833-87B9-410D-B81B-E8ACEBE906FB}" type="presOf" srcId="{02CDF4C0-30B2-4A3E-B6B4-80CF8F8D5D79}" destId="{0481EBAF-8FC2-4504-A12E-2EBEF60CA86E}" srcOrd="0" destOrd="0" presId="urn:microsoft.com/office/officeart/2005/8/layout/hierarchy6"/>
    <dgm:cxn modelId="{9C0A3338-EDD4-43CB-9D2F-1EFA882AA4B5}" srcId="{53F216EE-A509-4975-9FB0-3FBFB87A3505}" destId="{B08771E8-5E15-4839-A712-B5EDF4F4BA90}" srcOrd="2" destOrd="0" parTransId="{1C9E6380-EEFD-46F4-86D7-752246BD8F76}" sibTransId="{928CE0DC-1A20-4705-93BD-C1D5DB032493}"/>
    <dgm:cxn modelId="{CA2AED5C-7C96-42C8-B560-29B05F450E03}" type="presOf" srcId="{88D5618B-6C84-448A-9B87-5ECFE992EE88}" destId="{C837F271-5EA7-4636-AC74-49D56FB8B255}" srcOrd="1" destOrd="0" presId="urn:microsoft.com/office/officeart/2005/8/layout/hierarchy6"/>
    <dgm:cxn modelId="{0FE6FE61-55D6-41D9-9F29-9D684DA241AB}" type="presOf" srcId="{C1FB6E80-4DA7-47C3-93EE-2354E541D210}" destId="{A675E7DB-75A1-4E73-B89A-B39FD133694C}" srcOrd="0" destOrd="0" presId="urn:microsoft.com/office/officeart/2005/8/layout/hierarchy6"/>
    <dgm:cxn modelId="{45206F46-747C-4FEE-BD9F-F883E177F221}" type="presOf" srcId="{3997B575-27F0-4B50-AC21-A3464CD31291}" destId="{24AFDD48-AD82-44AC-B1C8-DAA464289C4B}" srcOrd="0" destOrd="0" presId="urn:microsoft.com/office/officeart/2005/8/layout/hierarchy6"/>
    <dgm:cxn modelId="{C5D0EB4C-FDA4-46D3-8E68-1D6604FF78DF}" type="presOf" srcId="{42B7EA77-1D92-45CF-A154-6094609F9665}" destId="{114B6532-3079-4B05-938F-6DA9D79BF331}" srcOrd="0" destOrd="0" presId="urn:microsoft.com/office/officeart/2005/8/layout/hierarchy6"/>
    <dgm:cxn modelId="{DCE0F872-4876-42CF-9BF6-65D8E9F8FCB8}" type="presOf" srcId="{B08771E8-5E15-4839-A712-B5EDF4F4BA90}" destId="{9DD2A854-1CB3-42A6-8AB8-B436CE86895A}" srcOrd="1" destOrd="0" presId="urn:microsoft.com/office/officeart/2005/8/layout/hierarchy6"/>
    <dgm:cxn modelId="{F6038854-2850-4766-ACE2-19B1781C401B}" srcId="{552DEA1B-4DA7-4CEE-9408-898720C70C73}" destId="{C1FB6E80-4DA7-47C3-93EE-2354E541D210}" srcOrd="0" destOrd="0" parTransId="{EAAD5FDA-535E-4A9B-892A-276A5C4E97FE}" sibTransId="{66D5DFD7-8D0D-4F7D-B25E-CF3A58A2020A}"/>
    <dgm:cxn modelId="{90EF8E55-DBCC-4905-817C-139D2B1A02BB}" srcId="{3997B575-27F0-4B50-AC21-A3464CD31291}" destId="{FB465EA1-3041-4632-B5FB-B477DA9E5563}" srcOrd="1" destOrd="0" parTransId="{599C559B-9BA2-48F2-AE00-C2968B7426F5}" sibTransId="{5F91AD4E-2EA4-46DB-9EA8-2A2D7DC7DE07}"/>
    <dgm:cxn modelId="{B072C158-5E7D-47A5-9435-7CBCE2A5E320}" srcId="{53F216EE-A509-4975-9FB0-3FBFB87A3505}" destId="{3CE7C63E-C3E1-442D-A17B-0BC83AD2B7F6}" srcOrd="1" destOrd="0" parTransId="{589916C2-7AE0-4B58-966B-8FACB9505687}" sibTransId="{B5D8DE48-B089-4F46-9802-B91492DF95B9}"/>
    <dgm:cxn modelId="{3CE3A284-794E-4C4C-8C6D-55F185BD2E24}" type="presOf" srcId="{53F216EE-A509-4975-9FB0-3FBFB87A3505}" destId="{3CC7DEED-7780-45E4-AA2F-DB2AAA5B0CE9}" srcOrd="0" destOrd="0" presId="urn:microsoft.com/office/officeart/2005/8/layout/hierarchy6"/>
    <dgm:cxn modelId="{CF13D88E-80BB-4C54-8817-896489FCB74B}" srcId="{3997B575-27F0-4B50-AC21-A3464CD31291}" destId="{42B7EA77-1D92-45CF-A154-6094609F9665}" srcOrd="0" destOrd="0" parTransId="{F1851DD1-734E-4BF4-9924-1AD2EB611DBC}" sibTransId="{8A3A121A-FAED-4367-ABCC-365BE0061734}"/>
    <dgm:cxn modelId="{EF1138B8-C38D-4461-AAFF-F02455336134}" srcId="{53F216EE-A509-4975-9FB0-3FBFB87A3505}" destId="{0062BED5-B517-4E6C-90EC-8E80331709FC}" srcOrd="4" destOrd="0" parTransId="{DBD38BE1-B586-4AD7-BB3D-CD3D8D8F1569}" sibTransId="{DA5C90EA-E75D-48C1-A489-E625D11F6E48}"/>
    <dgm:cxn modelId="{EF756EBA-586E-48D4-A3D0-282E484BF45C}" type="presOf" srcId="{2648E61D-7DAD-465F-8566-A1DFD4A09ABF}" destId="{2DD24E80-FCF3-4DF0-94FC-E89830CC51BF}" srcOrd="0" destOrd="0" presId="urn:microsoft.com/office/officeart/2005/8/layout/hierarchy6"/>
    <dgm:cxn modelId="{698084C4-1425-45E1-ABD7-4760E432BF98}" srcId="{53F216EE-A509-4975-9FB0-3FBFB87A3505}" destId="{3997B575-27F0-4B50-AC21-A3464CD31291}" srcOrd="0" destOrd="0" parTransId="{772C94B7-3CB2-4D04-A4C3-9F209BAE4DEC}" sibTransId="{1B6B6942-02C6-4C86-AB57-7090EE9986ED}"/>
    <dgm:cxn modelId="{B91AA5C5-F849-4DCD-93B8-0E8965418546}" srcId="{53F216EE-A509-4975-9FB0-3FBFB87A3505}" destId="{88D5618B-6C84-448A-9B87-5ECFE992EE88}" srcOrd="3" destOrd="0" parTransId="{198B4530-9C7B-467D-A990-3324D3894093}" sibTransId="{4537B113-40E8-46A6-B44A-EA9DA5B6B9BD}"/>
    <dgm:cxn modelId="{9CC6C6CC-3204-4528-82AB-8625D5AF121A}" type="presOf" srcId="{EAAD5FDA-535E-4A9B-892A-276A5C4E97FE}" destId="{BDDE437B-2574-4436-9622-445D381637AA}" srcOrd="0" destOrd="0" presId="urn:microsoft.com/office/officeart/2005/8/layout/hierarchy6"/>
    <dgm:cxn modelId="{698EE1D1-7DB5-4D31-BFEA-782F08757605}" srcId="{42B7EA77-1D92-45CF-A154-6094609F9665}" destId="{552DEA1B-4DA7-4CEE-9408-898720C70C73}" srcOrd="0" destOrd="0" parTransId="{2648E61D-7DAD-465F-8566-A1DFD4A09ABF}" sibTransId="{822FF02F-5243-4C6D-BDCD-C2510AEB4B0B}"/>
    <dgm:cxn modelId="{43BB34E5-4EA7-452D-9ACA-7DB411CD43FA}" type="presOf" srcId="{6543BF99-618D-405A-9B82-B34D4B1F86FA}" destId="{D20B87D6-8B0E-4124-8D42-439208D13FA6}" srcOrd="0" destOrd="0" presId="urn:microsoft.com/office/officeart/2005/8/layout/hierarchy6"/>
    <dgm:cxn modelId="{721609E9-007D-4D02-81D8-39F003F045F7}" type="presOf" srcId="{F1851DD1-734E-4BF4-9924-1AD2EB611DBC}" destId="{0F922240-AA8E-49CD-836A-3F97042A59C8}" srcOrd="0" destOrd="0" presId="urn:microsoft.com/office/officeart/2005/8/layout/hierarchy6"/>
    <dgm:cxn modelId="{06D444EA-5965-430A-BB3F-9E1B028334F3}" type="presOf" srcId="{599C559B-9BA2-48F2-AE00-C2968B7426F5}" destId="{7B5A69F3-9001-4836-91E3-F0301FAC7D97}" srcOrd="0" destOrd="0" presId="urn:microsoft.com/office/officeart/2005/8/layout/hierarchy6"/>
    <dgm:cxn modelId="{CE07FEEA-48D4-40F8-9F1A-AEC0BE189309}" type="presOf" srcId="{B08771E8-5E15-4839-A712-B5EDF4F4BA90}" destId="{303F70A9-2B23-4F03-8A43-14BC345F85F4}" srcOrd="0" destOrd="0" presId="urn:microsoft.com/office/officeart/2005/8/layout/hierarchy6"/>
    <dgm:cxn modelId="{0518AAF1-BAD0-470E-8B9E-D01E7553184C}" srcId="{42B7EA77-1D92-45CF-A154-6094609F9665}" destId="{6543BF99-618D-405A-9B82-B34D4B1F86FA}" srcOrd="1" destOrd="0" parTransId="{02CDF4C0-30B2-4A3E-B6B4-80CF8F8D5D79}" sibTransId="{E1662901-EF3B-43C8-9936-6ACB7E799572}"/>
    <dgm:cxn modelId="{EA4032F3-873E-41CD-BA8E-6C957D4D2145}" type="presOf" srcId="{88D5618B-6C84-448A-9B87-5ECFE992EE88}" destId="{A0EEEDB7-83FB-481B-9FA7-11D3C718D7CB}" srcOrd="0" destOrd="0" presId="urn:microsoft.com/office/officeart/2005/8/layout/hierarchy6"/>
    <dgm:cxn modelId="{42490B44-B1C3-4BF2-917F-E5BA46811EB0}" type="presParOf" srcId="{3CC7DEED-7780-45E4-AA2F-DB2AAA5B0CE9}" destId="{DF1F92DF-DECF-46F3-8831-72392E5143C7}" srcOrd="0" destOrd="0" presId="urn:microsoft.com/office/officeart/2005/8/layout/hierarchy6"/>
    <dgm:cxn modelId="{3FA3B11B-E1E5-489E-85AE-47D68527772C}" type="presParOf" srcId="{DF1F92DF-DECF-46F3-8831-72392E5143C7}" destId="{B4768AB1-ACA3-4ECA-A0C2-ED5F7932AE71}" srcOrd="0" destOrd="0" presId="urn:microsoft.com/office/officeart/2005/8/layout/hierarchy6"/>
    <dgm:cxn modelId="{81309360-C363-4E70-A431-1EFFBD46F5BE}" type="presParOf" srcId="{DF1F92DF-DECF-46F3-8831-72392E5143C7}" destId="{153BDD3A-DE43-4B7B-8B8A-904A101B7C5D}" srcOrd="1" destOrd="0" presId="urn:microsoft.com/office/officeart/2005/8/layout/hierarchy6"/>
    <dgm:cxn modelId="{72900C70-F8D4-412B-A72F-218EC07DA604}" type="presParOf" srcId="{153BDD3A-DE43-4B7B-8B8A-904A101B7C5D}" destId="{5676B50E-F0C4-472A-8416-7A4F89E74CF7}" srcOrd="0" destOrd="0" presId="urn:microsoft.com/office/officeart/2005/8/layout/hierarchy6"/>
    <dgm:cxn modelId="{B7545BA8-7AEB-4482-9261-DE3CDC22105B}" type="presParOf" srcId="{5676B50E-F0C4-472A-8416-7A4F89E74CF7}" destId="{24AFDD48-AD82-44AC-B1C8-DAA464289C4B}" srcOrd="0" destOrd="0" presId="urn:microsoft.com/office/officeart/2005/8/layout/hierarchy6"/>
    <dgm:cxn modelId="{6B43F6AB-BAD2-43AE-9BB7-0251931C40D9}" type="presParOf" srcId="{5676B50E-F0C4-472A-8416-7A4F89E74CF7}" destId="{D312920F-955C-44E0-B077-8A17940708D7}" srcOrd="1" destOrd="0" presId="urn:microsoft.com/office/officeart/2005/8/layout/hierarchy6"/>
    <dgm:cxn modelId="{14ACA304-9F46-4C28-A54D-0D0E76EAE8A1}" type="presParOf" srcId="{D312920F-955C-44E0-B077-8A17940708D7}" destId="{0F922240-AA8E-49CD-836A-3F97042A59C8}" srcOrd="0" destOrd="0" presId="urn:microsoft.com/office/officeart/2005/8/layout/hierarchy6"/>
    <dgm:cxn modelId="{128ADAE5-AA98-4BD9-9DCC-ED996DEF42AF}" type="presParOf" srcId="{D312920F-955C-44E0-B077-8A17940708D7}" destId="{C41D83DB-2414-4579-A66C-B8238F1E2143}" srcOrd="1" destOrd="0" presId="urn:microsoft.com/office/officeart/2005/8/layout/hierarchy6"/>
    <dgm:cxn modelId="{F2A2C9D8-BB92-4838-BB77-18D1327DDDB9}" type="presParOf" srcId="{C41D83DB-2414-4579-A66C-B8238F1E2143}" destId="{114B6532-3079-4B05-938F-6DA9D79BF331}" srcOrd="0" destOrd="0" presId="urn:microsoft.com/office/officeart/2005/8/layout/hierarchy6"/>
    <dgm:cxn modelId="{86AD0B84-ACAC-4C16-BE06-C249F41EB0C7}" type="presParOf" srcId="{C41D83DB-2414-4579-A66C-B8238F1E2143}" destId="{AA53749D-2EC1-47F5-AD00-C7580E15A4CA}" srcOrd="1" destOrd="0" presId="urn:microsoft.com/office/officeart/2005/8/layout/hierarchy6"/>
    <dgm:cxn modelId="{252EF464-1C08-40A9-AF81-09DBAC6A2AC2}" type="presParOf" srcId="{AA53749D-2EC1-47F5-AD00-C7580E15A4CA}" destId="{2DD24E80-FCF3-4DF0-94FC-E89830CC51BF}" srcOrd="0" destOrd="0" presId="urn:microsoft.com/office/officeart/2005/8/layout/hierarchy6"/>
    <dgm:cxn modelId="{64DE1028-868D-4704-B7DD-FB4140B8A3FC}" type="presParOf" srcId="{AA53749D-2EC1-47F5-AD00-C7580E15A4CA}" destId="{2DEC933F-A716-4885-93BB-01468D8D1B46}" srcOrd="1" destOrd="0" presId="urn:microsoft.com/office/officeart/2005/8/layout/hierarchy6"/>
    <dgm:cxn modelId="{F588DB64-0C43-4D97-954F-65609D0A0645}" type="presParOf" srcId="{2DEC933F-A716-4885-93BB-01468D8D1B46}" destId="{9DB03B7A-EB7D-4118-944D-BCB335F85C37}" srcOrd="0" destOrd="0" presId="urn:microsoft.com/office/officeart/2005/8/layout/hierarchy6"/>
    <dgm:cxn modelId="{0ADB275E-3418-4EF1-AD93-18172F0C4855}" type="presParOf" srcId="{2DEC933F-A716-4885-93BB-01468D8D1B46}" destId="{3BD3FBD6-767C-49B8-B9CD-DA59E10D2C65}" srcOrd="1" destOrd="0" presId="urn:microsoft.com/office/officeart/2005/8/layout/hierarchy6"/>
    <dgm:cxn modelId="{CC994299-A038-433B-B6F4-396FC38B7EC0}" type="presParOf" srcId="{3BD3FBD6-767C-49B8-B9CD-DA59E10D2C65}" destId="{BDDE437B-2574-4436-9622-445D381637AA}" srcOrd="0" destOrd="0" presId="urn:microsoft.com/office/officeart/2005/8/layout/hierarchy6"/>
    <dgm:cxn modelId="{B330BA9C-8AAE-4696-89A5-0BF78E8FE179}" type="presParOf" srcId="{3BD3FBD6-767C-49B8-B9CD-DA59E10D2C65}" destId="{03308127-9A7E-4B19-9F9D-54F313891EA4}" srcOrd="1" destOrd="0" presId="urn:microsoft.com/office/officeart/2005/8/layout/hierarchy6"/>
    <dgm:cxn modelId="{01246BF8-2276-4B08-B2ED-6B614018AE79}" type="presParOf" srcId="{03308127-9A7E-4B19-9F9D-54F313891EA4}" destId="{A675E7DB-75A1-4E73-B89A-B39FD133694C}" srcOrd="0" destOrd="0" presId="urn:microsoft.com/office/officeart/2005/8/layout/hierarchy6"/>
    <dgm:cxn modelId="{ED4D73CC-5A3D-4EC8-A54B-463BEB2B5F85}" type="presParOf" srcId="{03308127-9A7E-4B19-9F9D-54F313891EA4}" destId="{2E1DE82F-F550-4780-82B7-DF12DD8B89E3}" srcOrd="1" destOrd="0" presId="urn:microsoft.com/office/officeart/2005/8/layout/hierarchy6"/>
    <dgm:cxn modelId="{BBD37F26-BA71-418C-BC2A-CAE641ECEA4D}" type="presParOf" srcId="{AA53749D-2EC1-47F5-AD00-C7580E15A4CA}" destId="{0481EBAF-8FC2-4504-A12E-2EBEF60CA86E}" srcOrd="2" destOrd="0" presId="urn:microsoft.com/office/officeart/2005/8/layout/hierarchy6"/>
    <dgm:cxn modelId="{4B7959E1-CC09-43CD-B474-323D80D61AAD}" type="presParOf" srcId="{AA53749D-2EC1-47F5-AD00-C7580E15A4CA}" destId="{3D733411-7BC2-4A70-B1E5-FED63495846A}" srcOrd="3" destOrd="0" presId="urn:microsoft.com/office/officeart/2005/8/layout/hierarchy6"/>
    <dgm:cxn modelId="{24F33EB1-391E-449C-BCB3-147A34720261}" type="presParOf" srcId="{3D733411-7BC2-4A70-B1E5-FED63495846A}" destId="{D20B87D6-8B0E-4124-8D42-439208D13FA6}" srcOrd="0" destOrd="0" presId="urn:microsoft.com/office/officeart/2005/8/layout/hierarchy6"/>
    <dgm:cxn modelId="{E831EE47-CD17-40FF-9EDE-247A0367863E}" type="presParOf" srcId="{3D733411-7BC2-4A70-B1E5-FED63495846A}" destId="{FAF3B587-0E03-4094-9A59-14C90D6DADCA}" srcOrd="1" destOrd="0" presId="urn:microsoft.com/office/officeart/2005/8/layout/hierarchy6"/>
    <dgm:cxn modelId="{E223E6F5-5549-4923-8035-B544D9C252F1}" type="presParOf" srcId="{D312920F-955C-44E0-B077-8A17940708D7}" destId="{7B5A69F3-9001-4836-91E3-F0301FAC7D97}" srcOrd="2" destOrd="0" presId="urn:microsoft.com/office/officeart/2005/8/layout/hierarchy6"/>
    <dgm:cxn modelId="{EA46C914-E074-431B-80F1-4A01A2AC198A}" type="presParOf" srcId="{D312920F-955C-44E0-B077-8A17940708D7}" destId="{951C7E1E-DF09-411C-BEBF-33BDA3A177E4}" srcOrd="3" destOrd="0" presId="urn:microsoft.com/office/officeart/2005/8/layout/hierarchy6"/>
    <dgm:cxn modelId="{4E3A263B-A5AA-4964-B7BE-A6F6D2FEA3D3}" type="presParOf" srcId="{951C7E1E-DF09-411C-BEBF-33BDA3A177E4}" destId="{8E5BEE6D-DB83-4FB7-9AA0-B0F1F7BFDB53}" srcOrd="0" destOrd="0" presId="urn:microsoft.com/office/officeart/2005/8/layout/hierarchy6"/>
    <dgm:cxn modelId="{5B159BD7-DA35-412F-B242-27A9FFD809DD}" type="presParOf" srcId="{951C7E1E-DF09-411C-BEBF-33BDA3A177E4}" destId="{BCECB018-AE5F-4192-B710-FF1C98E1D1F5}" srcOrd="1" destOrd="0" presId="urn:microsoft.com/office/officeart/2005/8/layout/hierarchy6"/>
    <dgm:cxn modelId="{D2EB2A46-E339-4BC9-B9D6-2CF7AFB03867}" type="presParOf" srcId="{3CC7DEED-7780-45E4-AA2F-DB2AAA5B0CE9}" destId="{325B14C7-F672-4891-8C1D-39811BA6D1C9}" srcOrd="1" destOrd="0" presId="urn:microsoft.com/office/officeart/2005/8/layout/hierarchy6"/>
    <dgm:cxn modelId="{76F25D9F-1638-407B-BAE7-657957C971E9}" type="presParOf" srcId="{325B14C7-F672-4891-8C1D-39811BA6D1C9}" destId="{85F3693A-0683-41AE-AF39-DEE6E36847E5}" srcOrd="0" destOrd="0" presId="urn:microsoft.com/office/officeart/2005/8/layout/hierarchy6"/>
    <dgm:cxn modelId="{EE717787-8A73-4ABA-A6EC-E201601896AB}" type="presParOf" srcId="{85F3693A-0683-41AE-AF39-DEE6E36847E5}" destId="{B31F27A6-F4C8-40B1-A169-AEA5C5580F4D}" srcOrd="0" destOrd="0" presId="urn:microsoft.com/office/officeart/2005/8/layout/hierarchy6"/>
    <dgm:cxn modelId="{BB0C8D9A-1CD5-44E8-BEE5-5B7D23C4205E}" type="presParOf" srcId="{85F3693A-0683-41AE-AF39-DEE6E36847E5}" destId="{47529BC1-8C08-46B5-BDF6-1F4D7FB95504}" srcOrd="1" destOrd="0" presId="urn:microsoft.com/office/officeart/2005/8/layout/hierarchy6"/>
    <dgm:cxn modelId="{594E69B8-8867-4666-BFEE-53F4B4CF45D8}" type="presParOf" srcId="{325B14C7-F672-4891-8C1D-39811BA6D1C9}" destId="{D2686AD2-D188-4D57-A406-20960A18DB5D}" srcOrd="1" destOrd="0" presId="urn:microsoft.com/office/officeart/2005/8/layout/hierarchy6"/>
    <dgm:cxn modelId="{6012E5B0-3654-47D8-BD1C-61F85097D636}" type="presParOf" srcId="{D2686AD2-D188-4D57-A406-20960A18DB5D}" destId="{9449EF36-061E-4D1C-BD9E-44CDA59B9121}" srcOrd="0" destOrd="0" presId="urn:microsoft.com/office/officeart/2005/8/layout/hierarchy6"/>
    <dgm:cxn modelId="{31C96014-B357-4287-9ACF-CD021C517CFC}" type="presParOf" srcId="{325B14C7-F672-4891-8C1D-39811BA6D1C9}" destId="{9488ADBE-141E-4EEF-B74E-2A65355ADB07}" srcOrd="2" destOrd="0" presId="urn:microsoft.com/office/officeart/2005/8/layout/hierarchy6"/>
    <dgm:cxn modelId="{CBD6EA0B-0047-461A-B2F8-24C7AD96D247}" type="presParOf" srcId="{9488ADBE-141E-4EEF-B74E-2A65355ADB07}" destId="{303F70A9-2B23-4F03-8A43-14BC345F85F4}" srcOrd="0" destOrd="0" presId="urn:microsoft.com/office/officeart/2005/8/layout/hierarchy6"/>
    <dgm:cxn modelId="{84A97B1E-0F5D-4F6E-B089-023B64A5432C}" type="presParOf" srcId="{9488ADBE-141E-4EEF-B74E-2A65355ADB07}" destId="{9DD2A854-1CB3-42A6-8AB8-B436CE86895A}" srcOrd="1" destOrd="0" presId="urn:microsoft.com/office/officeart/2005/8/layout/hierarchy6"/>
    <dgm:cxn modelId="{70CE53A3-B770-4A5B-9500-DE97652E84A8}" type="presParOf" srcId="{325B14C7-F672-4891-8C1D-39811BA6D1C9}" destId="{219F6C24-EB4E-4710-9DCD-304BF334BC17}" srcOrd="3" destOrd="0" presId="urn:microsoft.com/office/officeart/2005/8/layout/hierarchy6"/>
    <dgm:cxn modelId="{BF675985-289F-40BB-9C8E-83C90895F472}" type="presParOf" srcId="{219F6C24-EB4E-4710-9DCD-304BF334BC17}" destId="{076DF58B-7516-4D98-9641-18CBF0E0D4B6}" srcOrd="0" destOrd="0" presId="urn:microsoft.com/office/officeart/2005/8/layout/hierarchy6"/>
    <dgm:cxn modelId="{E39B95B9-16C5-463D-8B52-C6191E518DB5}" type="presParOf" srcId="{325B14C7-F672-4891-8C1D-39811BA6D1C9}" destId="{4A8C9DC1-8C06-4AD7-BEF9-9C1E9123760F}" srcOrd="4" destOrd="0" presId="urn:microsoft.com/office/officeart/2005/8/layout/hierarchy6"/>
    <dgm:cxn modelId="{60159752-8D5B-4FCD-BA2C-5697BBFEB551}" type="presParOf" srcId="{4A8C9DC1-8C06-4AD7-BEF9-9C1E9123760F}" destId="{A0EEEDB7-83FB-481B-9FA7-11D3C718D7CB}" srcOrd="0" destOrd="0" presId="urn:microsoft.com/office/officeart/2005/8/layout/hierarchy6"/>
    <dgm:cxn modelId="{02B6B712-F80E-4969-A6EA-1EC6F49885E8}" type="presParOf" srcId="{4A8C9DC1-8C06-4AD7-BEF9-9C1E9123760F}" destId="{C837F271-5EA7-4636-AC74-49D56FB8B255}" srcOrd="1" destOrd="0" presId="urn:microsoft.com/office/officeart/2005/8/layout/hierarchy6"/>
    <dgm:cxn modelId="{F4E7512B-AF7B-4DC2-80BF-EE3123ABE054}" type="presParOf" srcId="{325B14C7-F672-4891-8C1D-39811BA6D1C9}" destId="{E95027D1-508A-4924-BB4F-9622F3C5B5C1}" srcOrd="5" destOrd="0" presId="urn:microsoft.com/office/officeart/2005/8/layout/hierarchy6"/>
    <dgm:cxn modelId="{602637D3-2C26-400C-B9A0-9B6EC398D548}" type="presParOf" srcId="{E95027D1-508A-4924-BB4F-9622F3C5B5C1}" destId="{CA6F9002-86F3-4C80-8149-08E640FD3B91}" srcOrd="0" destOrd="0" presId="urn:microsoft.com/office/officeart/2005/8/layout/hierarchy6"/>
    <dgm:cxn modelId="{DDB455DD-8098-49C4-88CE-23A7C6C8E891}" type="presParOf" srcId="{325B14C7-F672-4891-8C1D-39811BA6D1C9}" destId="{041C18DE-8749-4E1F-B624-849CE99FC449}" srcOrd="6" destOrd="0" presId="urn:microsoft.com/office/officeart/2005/8/layout/hierarchy6"/>
    <dgm:cxn modelId="{FE9C51CD-0BE7-42A6-85A4-10C0893171BA}" type="presParOf" srcId="{041C18DE-8749-4E1F-B624-849CE99FC449}" destId="{EE1BECC8-B7BF-47D5-AA14-5F106E6CAA71}" srcOrd="0" destOrd="0" presId="urn:microsoft.com/office/officeart/2005/8/layout/hierarchy6"/>
    <dgm:cxn modelId="{6FA3C0C4-039C-4D8A-B4E5-DD2F78BBC9CE}" type="presParOf" srcId="{041C18DE-8749-4E1F-B624-849CE99FC449}" destId="{90653EBC-9301-4D5D-86CF-2006DDD320C0}"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03F26C3-8F63-467C-9158-BF4CC1653B62}"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en-US"/>
        </a:p>
      </dgm:t>
    </dgm:pt>
    <dgm:pt modelId="{F9635BED-CAF4-4DEE-83CB-4D576C6CDEB8}">
      <dgm:prSet phldrT="[Text]"/>
      <dgm:spPr>
        <a:solidFill>
          <a:srgbClr val="002060"/>
        </a:solidFill>
      </dgm:spPr>
      <dgm:t>
        <a:bodyPr/>
        <a:lstStyle/>
        <a:p>
          <a:r>
            <a:rPr lang="en-US" dirty="0"/>
            <a:t>Contractors</a:t>
          </a:r>
        </a:p>
      </dgm:t>
    </dgm:pt>
    <dgm:pt modelId="{150A296B-4374-4A0C-901C-0C3FB35C8A90}" type="parTrans" cxnId="{C9D052D6-1970-447F-92AA-0329BE97F416}">
      <dgm:prSet/>
      <dgm:spPr/>
      <dgm:t>
        <a:bodyPr/>
        <a:lstStyle/>
        <a:p>
          <a:endParaRPr lang="en-US"/>
        </a:p>
      </dgm:t>
    </dgm:pt>
    <dgm:pt modelId="{EA55A81A-3F9B-4A81-96A4-E40393B57ABE}" type="sibTrans" cxnId="{C9D052D6-1970-447F-92AA-0329BE97F416}">
      <dgm:prSet/>
      <dgm:spPr/>
      <dgm:t>
        <a:bodyPr/>
        <a:lstStyle/>
        <a:p>
          <a:endParaRPr lang="en-US"/>
        </a:p>
      </dgm:t>
    </dgm:pt>
    <dgm:pt modelId="{C7125E00-0920-4727-8449-199D26686A41}">
      <dgm:prSet phldrT="[Text]"/>
      <dgm:spPr>
        <a:solidFill>
          <a:srgbClr val="C00000"/>
        </a:solidFill>
      </dgm:spPr>
      <dgm:t>
        <a:bodyPr/>
        <a:lstStyle/>
        <a:p>
          <a:r>
            <a:rPr lang="en-US" dirty="0"/>
            <a:t>Centralized Purchasing Agencies</a:t>
          </a:r>
        </a:p>
      </dgm:t>
    </dgm:pt>
    <dgm:pt modelId="{4BDC80F0-977F-4D8A-9DC8-C30BF9044758}" type="parTrans" cxnId="{DB2947F8-A0D9-47CE-9DB5-1DF36A690F5F}">
      <dgm:prSet/>
      <dgm:spPr/>
      <dgm:t>
        <a:bodyPr/>
        <a:lstStyle/>
        <a:p>
          <a:endParaRPr lang="en-US"/>
        </a:p>
      </dgm:t>
    </dgm:pt>
    <dgm:pt modelId="{98866E89-72C3-4D85-845C-EB66BA73103E}" type="sibTrans" cxnId="{DB2947F8-A0D9-47CE-9DB5-1DF36A690F5F}">
      <dgm:prSet/>
      <dgm:spPr/>
      <dgm:t>
        <a:bodyPr/>
        <a:lstStyle/>
        <a:p>
          <a:endParaRPr lang="en-US"/>
        </a:p>
      </dgm:t>
    </dgm:pt>
    <dgm:pt modelId="{77AB1017-B18C-4000-9A29-45EDBB3B9374}">
      <dgm:prSet phldrT="[Text]"/>
      <dgm:spPr>
        <a:solidFill>
          <a:schemeClr val="accent6">
            <a:lumMod val="75000"/>
          </a:schemeClr>
        </a:solidFill>
      </dgm:spPr>
      <dgm:t>
        <a:bodyPr/>
        <a:lstStyle/>
        <a:p>
          <a:r>
            <a:rPr lang="en-US" dirty="0"/>
            <a:t>Customer Agencies</a:t>
          </a:r>
        </a:p>
      </dgm:t>
    </dgm:pt>
    <dgm:pt modelId="{BDACC655-C87E-464F-8B84-5C85E9EBBB04}" type="parTrans" cxnId="{B14609D9-7BB0-4280-80A4-6990AE602749}">
      <dgm:prSet/>
      <dgm:spPr/>
      <dgm:t>
        <a:bodyPr/>
        <a:lstStyle/>
        <a:p>
          <a:endParaRPr lang="en-US"/>
        </a:p>
      </dgm:t>
    </dgm:pt>
    <dgm:pt modelId="{A56964C6-6622-40C6-8091-A9D32E19F286}" type="sibTrans" cxnId="{B14609D9-7BB0-4280-80A4-6990AE602749}">
      <dgm:prSet/>
      <dgm:spPr/>
      <dgm:t>
        <a:bodyPr/>
        <a:lstStyle/>
        <a:p>
          <a:endParaRPr lang="en-US"/>
        </a:p>
      </dgm:t>
    </dgm:pt>
    <dgm:pt modelId="{FC314B71-C9F2-449A-87B4-A06B6AD03D84}">
      <dgm:prSet phldrT="[Text]" custT="1"/>
      <dgm:spPr>
        <a:solidFill>
          <a:srgbClr val="C00000"/>
        </a:solidFill>
      </dgm:spPr>
      <dgm:t>
        <a:bodyPr/>
        <a:lstStyle/>
        <a:p>
          <a:r>
            <a:rPr lang="en-US" sz="1800" b="1" dirty="0">
              <a:solidFill>
                <a:schemeClr val="bg1"/>
              </a:solidFill>
            </a:rPr>
            <a:t>Reduced Transparency – Reduced Accountability -- Misuse of Frameworks</a:t>
          </a:r>
        </a:p>
      </dgm:t>
    </dgm:pt>
    <dgm:pt modelId="{5FA9E09E-1E43-4CA9-8886-2B2E4AEC1A1C}" type="parTrans" cxnId="{D52EEC09-5732-4EA9-9692-5EE65F8276A2}">
      <dgm:prSet/>
      <dgm:spPr/>
      <dgm:t>
        <a:bodyPr/>
        <a:lstStyle/>
        <a:p>
          <a:endParaRPr lang="en-US"/>
        </a:p>
      </dgm:t>
    </dgm:pt>
    <dgm:pt modelId="{649EE243-B4DB-4F79-BDDB-6095B29D7D57}" type="sibTrans" cxnId="{D52EEC09-5732-4EA9-9692-5EE65F8276A2}">
      <dgm:prSet/>
      <dgm:spPr/>
      <dgm:t>
        <a:bodyPr/>
        <a:lstStyle/>
        <a:p>
          <a:endParaRPr lang="en-US"/>
        </a:p>
      </dgm:t>
    </dgm:pt>
    <dgm:pt modelId="{04C933BF-89C7-483F-9BBF-1CAB9BDBE151}" type="pres">
      <dgm:prSet presAssocID="{503F26C3-8F63-467C-9158-BF4CC1653B62}" presName="Name0" presStyleCnt="0">
        <dgm:presLayoutVars>
          <dgm:chMax val="4"/>
          <dgm:resizeHandles val="exact"/>
        </dgm:presLayoutVars>
      </dgm:prSet>
      <dgm:spPr/>
    </dgm:pt>
    <dgm:pt modelId="{F4001683-A89F-43DC-A13C-AC909F2BDB88}" type="pres">
      <dgm:prSet presAssocID="{503F26C3-8F63-467C-9158-BF4CC1653B62}" presName="ellipse" presStyleLbl="trBgShp" presStyleIdx="0" presStyleCnt="1"/>
      <dgm:spPr/>
    </dgm:pt>
    <dgm:pt modelId="{62ED97E4-7925-45BF-9B62-5F128BF439BF}" type="pres">
      <dgm:prSet presAssocID="{503F26C3-8F63-467C-9158-BF4CC1653B62}" presName="arrow1" presStyleLbl="fgShp" presStyleIdx="0" presStyleCnt="1"/>
      <dgm:spPr/>
    </dgm:pt>
    <dgm:pt modelId="{7007D733-EB03-4EBB-AD54-3363F0327A3D}" type="pres">
      <dgm:prSet presAssocID="{503F26C3-8F63-467C-9158-BF4CC1653B62}" presName="rectangle" presStyleLbl="revTx" presStyleIdx="0" presStyleCnt="1" custScaleX="182000" custScaleY="43116">
        <dgm:presLayoutVars>
          <dgm:bulletEnabled val="1"/>
        </dgm:presLayoutVars>
      </dgm:prSet>
      <dgm:spPr/>
    </dgm:pt>
    <dgm:pt modelId="{69951546-8EFB-4281-837C-34189C1F893D}" type="pres">
      <dgm:prSet presAssocID="{C7125E00-0920-4727-8449-199D26686A41}" presName="item1" presStyleLbl="node1" presStyleIdx="0" presStyleCnt="3">
        <dgm:presLayoutVars>
          <dgm:bulletEnabled val="1"/>
        </dgm:presLayoutVars>
      </dgm:prSet>
      <dgm:spPr/>
    </dgm:pt>
    <dgm:pt modelId="{935043D7-1713-4B5C-8AA3-27420DBBF20A}" type="pres">
      <dgm:prSet presAssocID="{77AB1017-B18C-4000-9A29-45EDBB3B9374}" presName="item2" presStyleLbl="node1" presStyleIdx="1" presStyleCnt="3">
        <dgm:presLayoutVars>
          <dgm:bulletEnabled val="1"/>
        </dgm:presLayoutVars>
      </dgm:prSet>
      <dgm:spPr/>
    </dgm:pt>
    <dgm:pt modelId="{EBDA8B7A-7FE4-48B6-8A78-2CDD6FD7FC6E}" type="pres">
      <dgm:prSet presAssocID="{FC314B71-C9F2-449A-87B4-A06B6AD03D84}" presName="item3" presStyleLbl="node1" presStyleIdx="2" presStyleCnt="3">
        <dgm:presLayoutVars>
          <dgm:bulletEnabled val="1"/>
        </dgm:presLayoutVars>
      </dgm:prSet>
      <dgm:spPr/>
    </dgm:pt>
    <dgm:pt modelId="{9682A309-E72F-4D8F-A955-8F38511DCFC7}" type="pres">
      <dgm:prSet presAssocID="{503F26C3-8F63-467C-9158-BF4CC1653B62}" presName="funnel" presStyleLbl="trAlignAcc1" presStyleIdx="0" presStyleCnt="1" custScaleX="148728" custScaleY="94906"/>
      <dgm:spPr/>
    </dgm:pt>
  </dgm:ptLst>
  <dgm:cxnLst>
    <dgm:cxn modelId="{D52EEC09-5732-4EA9-9692-5EE65F8276A2}" srcId="{503F26C3-8F63-467C-9158-BF4CC1653B62}" destId="{FC314B71-C9F2-449A-87B4-A06B6AD03D84}" srcOrd="3" destOrd="0" parTransId="{5FA9E09E-1E43-4CA9-8886-2B2E4AEC1A1C}" sibTransId="{649EE243-B4DB-4F79-BDDB-6095B29D7D57}"/>
    <dgm:cxn modelId="{F1A5B721-2FC3-458D-AA16-BA0BBFB47B74}" type="presOf" srcId="{F9635BED-CAF4-4DEE-83CB-4D576C6CDEB8}" destId="{EBDA8B7A-7FE4-48B6-8A78-2CDD6FD7FC6E}" srcOrd="0" destOrd="0" presId="urn:microsoft.com/office/officeart/2005/8/layout/funnel1"/>
    <dgm:cxn modelId="{E350E252-9772-4D97-8A75-33AC628B2489}" type="presOf" srcId="{77AB1017-B18C-4000-9A29-45EDBB3B9374}" destId="{69951546-8EFB-4281-837C-34189C1F893D}" srcOrd="0" destOrd="0" presId="urn:microsoft.com/office/officeart/2005/8/layout/funnel1"/>
    <dgm:cxn modelId="{B1D25DAF-A3D5-4FF3-8F2D-430A49DB9D34}" type="presOf" srcId="{C7125E00-0920-4727-8449-199D26686A41}" destId="{935043D7-1713-4B5C-8AA3-27420DBBF20A}" srcOrd="0" destOrd="0" presId="urn:microsoft.com/office/officeart/2005/8/layout/funnel1"/>
    <dgm:cxn modelId="{384238C8-8542-4983-9CF6-33EFCA35FEE3}" type="presOf" srcId="{FC314B71-C9F2-449A-87B4-A06B6AD03D84}" destId="{7007D733-EB03-4EBB-AD54-3363F0327A3D}" srcOrd="0" destOrd="0" presId="urn:microsoft.com/office/officeart/2005/8/layout/funnel1"/>
    <dgm:cxn modelId="{C9D052D6-1970-447F-92AA-0329BE97F416}" srcId="{503F26C3-8F63-467C-9158-BF4CC1653B62}" destId="{F9635BED-CAF4-4DEE-83CB-4D576C6CDEB8}" srcOrd="0" destOrd="0" parTransId="{150A296B-4374-4A0C-901C-0C3FB35C8A90}" sibTransId="{EA55A81A-3F9B-4A81-96A4-E40393B57ABE}"/>
    <dgm:cxn modelId="{B14609D9-7BB0-4280-80A4-6990AE602749}" srcId="{503F26C3-8F63-467C-9158-BF4CC1653B62}" destId="{77AB1017-B18C-4000-9A29-45EDBB3B9374}" srcOrd="2" destOrd="0" parTransId="{BDACC655-C87E-464F-8B84-5C85E9EBBB04}" sibTransId="{A56964C6-6622-40C6-8091-A9D32E19F286}"/>
    <dgm:cxn modelId="{6F14F4E1-BABA-488D-BF7E-BBDD7A48BB34}" type="presOf" srcId="{503F26C3-8F63-467C-9158-BF4CC1653B62}" destId="{04C933BF-89C7-483F-9BBF-1CAB9BDBE151}" srcOrd="0" destOrd="0" presId="urn:microsoft.com/office/officeart/2005/8/layout/funnel1"/>
    <dgm:cxn modelId="{DB2947F8-A0D9-47CE-9DB5-1DF36A690F5F}" srcId="{503F26C3-8F63-467C-9158-BF4CC1653B62}" destId="{C7125E00-0920-4727-8449-199D26686A41}" srcOrd="1" destOrd="0" parTransId="{4BDC80F0-977F-4D8A-9DC8-C30BF9044758}" sibTransId="{98866E89-72C3-4D85-845C-EB66BA73103E}"/>
    <dgm:cxn modelId="{9F7F0335-DF2A-46C0-85BF-3B0F57DF811C}" type="presParOf" srcId="{04C933BF-89C7-483F-9BBF-1CAB9BDBE151}" destId="{F4001683-A89F-43DC-A13C-AC909F2BDB88}" srcOrd="0" destOrd="0" presId="urn:microsoft.com/office/officeart/2005/8/layout/funnel1"/>
    <dgm:cxn modelId="{2200373D-033C-4E80-9F11-594B4FD8A19B}" type="presParOf" srcId="{04C933BF-89C7-483F-9BBF-1CAB9BDBE151}" destId="{62ED97E4-7925-45BF-9B62-5F128BF439BF}" srcOrd="1" destOrd="0" presId="urn:microsoft.com/office/officeart/2005/8/layout/funnel1"/>
    <dgm:cxn modelId="{09B0426C-D85C-4905-8DDE-727E4A0A9FA1}" type="presParOf" srcId="{04C933BF-89C7-483F-9BBF-1CAB9BDBE151}" destId="{7007D733-EB03-4EBB-AD54-3363F0327A3D}" srcOrd="2" destOrd="0" presId="urn:microsoft.com/office/officeart/2005/8/layout/funnel1"/>
    <dgm:cxn modelId="{FDE72009-4D1B-42F7-99EB-7B128D3955B4}" type="presParOf" srcId="{04C933BF-89C7-483F-9BBF-1CAB9BDBE151}" destId="{69951546-8EFB-4281-837C-34189C1F893D}" srcOrd="3" destOrd="0" presId="urn:microsoft.com/office/officeart/2005/8/layout/funnel1"/>
    <dgm:cxn modelId="{ED451835-9D1A-47B8-9787-2288902A70BD}" type="presParOf" srcId="{04C933BF-89C7-483F-9BBF-1CAB9BDBE151}" destId="{935043D7-1713-4B5C-8AA3-27420DBBF20A}" srcOrd="4" destOrd="0" presId="urn:microsoft.com/office/officeart/2005/8/layout/funnel1"/>
    <dgm:cxn modelId="{9C59CAF6-DED0-47E9-9238-6729B4D78BBE}" type="presParOf" srcId="{04C933BF-89C7-483F-9BBF-1CAB9BDBE151}" destId="{EBDA8B7A-7FE4-48B6-8A78-2CDD6FD7FC6E}" srcOrd="5" destOrd="0" presId="urn:microsoft.com/office/officeart/2005/8/layout/funnel1"/>
    <dgm:cxn modelId="{EEA72E62-73F8-4D06-903E-9D3BA1926F0B}" type="presParOf" srcId="{04C933BF-89C7-483F-9BBF-1CAB9BDBE151}" destId="{9682A309-E72F-4D8F-A955-8F38511DCFC7}"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914F4B-728A-4402-9C40-27AF957061B8}" type="doc">
      <dgm:prSet loTypeId="urn:microsoft.com/office/officeart/2005/8/layout/process2" loCatId="process" qsTypeId="urn:microsoft.com/office/officeart/2005/8/quickstyle/simple1" qsCatId="simple" csTypeId="urn:microsoft.com/office/officeart/2005/8/colors/colorful1" csCatId="colorful" phldr="1"/>
      <dgm:spPr/>
    </dgm:pt>
    <dgm:pt modelId="{81007FF2-FB02-489F-B89B-602354C9697E}">
      <dgm:prSet phldrT="[Text]"/>
      <dgm:spPr/>
      <dgm:t>
        <a:bodyPr/>
        <a:lstStyle/>
        <a:p>
          <a:r>
            <a:rPr lang="en-US" dirty="0"/>
            <a:t>Subcontract</a:t>
          </a:r>
        </a:p>
      </dgm:t>
    </dgm:pt>
    <dgm:pt modelId="{D04C8276-952C-4803-B205-348B48B65FD2}" type="parTrans" cxnId="{F1A724C5-91D3-46EF-A92C-FDFA88E5CB91}">
      <dgm:prSet/>
      <dgm:spPr/>
      <dgm:t>
        <a:bodyPr/>
        <a:lstStyle/>
        <a:p>
          <a:endParaRPr lang="en-US"/>
        </a:p>
      </dgm:t>
    </dgm:pt>
    <dgm:pt modelId="{8F07D0AF-8B00-443E-936B-1C9162ED6728}" type="sibTrans" cxnId="{F1A724C5-91D3-46EF-A92C-FDFA88E5CB91}">
      <dgm:prSet/>
      <dgm:spPr/>
      <dgm:t>
        <a:bodyPr/>
        <a:lstStyle/>
        <a:p>
          <a:endParaRPr lang="en-US"/>
        </a:p>
      </dgm:t>
    </dgm:pt>
    <dgm:pt modelId="{0B26CE1E-134A-41F5-B766-E2951A005817}">
      <dgm:prSet phldrT="[Text]"/>
      <dgm:spPr/>
      <dgm:t>
        <a:bodyPr/>
        <a:lstStyle/>
        <a:p>
          <a:r>
            <a:rPr lang="en-US" dirty="0"/>
            <a:t>Framework (Indefinite Delivery-Indefinite Quantity)</a:t>
          </a:r>
        </a:p>
      </dgm:t>
    </dgm:pt>
    <dgm:pt modelId="{85AEE9D8-CCE7-4C82-98B1-C7B6518F409F}" type="parTrans" cxnId="{1BCDE092-014B-4B7B-935B-CF24CD01D822}">
      <dgm:prSet/>
      <dgm:spPr/>
      <dgm:t>
        <a:bodyPr/>
        <a:lstStyle/>
        <a:p>
          <a:endParaRPr lang="en-US"/>
        </a:p>
      </dgm:t>
    </dgm:pt>
    <dgm:pt modelId="{96A76BF4-30B6-4C55-A52B-564384C03F27}" type="sibTrans" cxnId="{1BCDE092-014B-4B7B-935B-CF24CD01D822}">
      <dgm:prSet/>
      <dgm:spPr/>
      <dgm:t>
        <a:bodyPr/>
        <a:lstStyle/>
        <a:p>
          <a:endParaRPr lang="en-US"/>
        </a:p>
      </dgm:t>
    </dgm:pt>
    <dgm:pt modelId="{1A028F22-2F84-4021-908F-66EA2C44E152}">
      <dgm:prSet phldrT="[Text]"/>
      <dgm:spPr/>
      <dgm:t>
        <a:bodyPr/>
        <a:lstStyle/>
        <a:p>
          <a:r>
            <a:rPr lang="en-US" dirty="0"/>
            <a:t>Prime Contract</a:t>
          </a:r>
        </a:p>
      </dgm:t>
    </dgm:pt>
    <dgm:pt modelId="{F9A63ABA-DD01-40D8-9817-9ED1B52BEC25}" type="parTrans" cxnId="{E7FF6824-D883-4205-99CE-D8E56437BF0B}">
      <dgm:prSet/>
      <dgm:spPr/>
      <dgm:t>
        <a:bodyPr/>
        <a:lstStyle/>
        <a:p>
          <a:endParaRPr lang="en-US"/>
        </a:p>
      </dgm:t>
    </dgm:pt>
    <dgm:pt modelId="{542804FB-972E-4883-9DB6-151C0D59A5BE}" type="sibTrans" cxnId="{E7FF6824-D883-4205-99CE-D8E56437BF0B}">
      <dgm:prSet/>
      <dgm:spPr/>
      <dgm:t>
        <a:bodyPr/>
        <a:lstStyle/>
        <a:p>
          <a:endParaRPr lang="en-US"/>
        </a:p>
      </dgm:t>
    </dgm:pt>
    <dgm:pt modelId="{9634762B-58C0-4FCB-A213-3587E147C0EF}" type="pres">
      <dgm:prSet presAssocID="{77914F4B-728A-4402-9C40-27AF957061B8}" presName="linearFlow" presStyleCnt="0">
        <dgm:presLayoutVars>
          <dgm:resizeHandles val="exact"/>
        </dgm:presLayoutVars>
      </dgm:prSet>
      <dgm:spPr/>
    </dgm:pt>
    <dgm:pt modelId="{B8DAE763-FE04-4009-A72F-2385A38C2A13}" type="pres">
      <dgm:prSet presAssocID="{81007FF2-FB02-489F-B89B-602354C9697E}" presName="node" presStyleLbl="node1" presStyleIdx="0" presStyleCnt="3">
        <dgm:presLayoutVars>
          <dgm:bulletEnabled val="1"/>
        </dgm:presLayoutVars>
      </dgm:prSet>
      <dgm:spPr/>
    </dgm:pt>
    <dgm:pt modelId="{2B684433-2334-474E-BEFE-2D28AC96A581}" type="pres">
      <dgm:prSet presAssocID="{8F07D0AF-8B00-443E-936B-1C9162ED6728}" presName="sibTrans" presStyleLbl="sibTrans2D1" presStyleIdx="0" presStyleCnt="2"/>
      <dgm:spPr/>
    </dgm:pt>
    <dgm:pt modelId="{0CAFB26E-9DB2-430F-AB5F-C2C33829A0BC}" type="pres">
      <dgm:prSet presAssocID="{8F07D0AF-8B00-443E-936B-1C9162ED6728}" presName="connectorText" presStyleLbl="sibTrans2D1" presStyleIdx="0" presStyleCnt="2"/>
      <dgm:spPr/>
    </dgm:pt>
    <dgm:pt modelId="{1CADC212-172F-49A4-80B6-D63B02D5128E}" type="pres">
      <dgm:prSet presAssocID="{0B26CE1E-134A-41F5-B766-E2951A005817}" presName="node" presStyleLbl="node1" presStyleIdx="1" presStyleCnt="3">
        <dgm:presLayoutVars>
          <dgm:bulletEnabled val="1"/>
        </dgm:presLayoutVars>
      </dgm:prSet>
      <dgm:spPr/>
    </dgm:pt>
    <dgm:pt modelId="{891494BE-AFB7-43F8-99A4-1FF8A7B34963}" type="pres">
      <dgm:prSet presAssocID="{96A76BF4-30B6-4C55-A52B-564384C03F27}" presName="sibTrans" presStyleLbl="sibTrans2D1" presStyleIdx="1" presStyleCnt="2"/>
      <dgm:spPr/>
    </dgm:pt>
    <dgm:pt modelId="{D5A1672C-BC0B-48BA-8E9C-06916DA54775}" type="pres">
      <dgm:prSet presAssocID="{96A76BF4-30B6-4C55-A52B-564384C03F27}" presName="connectorText" presStyleLbl="sibTrans2D1" presStyleIdx="1" presStyleCnt="2"/>
      <dgm:spPr/>
    </dgm:pt>
    <dgm:pt modelId="{A02E207A-C4C7-41E3-B15A-03553DC3BC0C}" type="pres">
      <dgm:prSet presAssocID="{1A028F22-2F84-4021-908F-66EA2C44E152}" presName="node" presStyleLbl="node1" presStyleIdx="2" presStyleCnt="3">
        <dgm:presLayoutVars>
          <dgm:bulletEnabled val="1"/>
        </dgm:presLayoutVars>
      </dgm:prSet>
      <dgm:spPr/>
    </dgm:pt>
  </dgm:ptLst>
  <dgm:cxnLst>
    <dgm:cxn modelId="{28A8610C-2891-4219-A257-878252D4A969}" type="presOf" srcId="{0B26CE1E-134A-41F5-B766-E2951A005817}" destId="{1CADC212-172F-49A4-80B6-D63B02D5128E}" srcOrd="0" destOrd="0" presId="urn:microsoft.com/office/officeart/2005/8/layout/process2"/>
    <dgm:cxn modelId="{E7FF6824-D883-4205-99CE-D8E56437BF0B}" srcId="{77914F4B-728A-4402-9C40-27AF957061B8}" destId="{1A028F22-2F84-4021-908F-66EA2C44E152}" srcOrd="2" destOrd="0" parTransId="{F9A63ABA-DD01-40D8-9817-9ED1B52BEC25}" sibTransId="{542804FB-972E-4883-9DB6-151C0D59A5BE}"/>
    <dgm:cxn modelId="{3D0D8346-E822-4C28-9FD5-A8E4E14BB275}" type="presOf" srcId="{8F07D0AF-8B00-443E-936B-1C9162ED6728}" destId="{0CAFB26E-9DB2-430F-AB5F-C2C33829A0BC}" srcOrd="1" destOrd="0" presId="urn:microsoft.com/office/officeart/2005/8/layout/process2"/>
    <dgm:cxn modelId="{CF9DDC59-4CC7-4911-B904-03E0A23F4144}" type="presOf" srcId="{96A76BF4-30B6-4C55-A52B-564384C03F27}" destId="{891494BE-AFB7-43F8-99A4-1FF8A7B34963}" srcOrd="0" destOrd="0" presId="urn:microsoft.com/office/officeart/2005/8/layout/process2"/>
    <dgm:cxn modelId="{DFABBD89-D409-4909-97F6-D1A02E32BAAB}" type="presOf" srcId="{96A76BF4-30B6-4C55-A52B-564384C03F27}" destId="{D5A1672C-BC0B-48BA-8E9C-06916DA54775}" srcOrd="1" destOrd="0" presId="urn:microsoft.com/office/officeart/2005/8/layout/process2"/>
    <dgm:cxn modelId="{1BCDE092-014B-4B7B-935B-CF24CD01D822}" srcId="{77914F4B-728A-4402-9C40-27AF957061B8}" destId="{0B26CE1E-134A-41F5-B766-E2951A005817}" srcOrd="1" destOrd="0" parTransId="{85AEE9D8-CCE7-4C82-98B1-C7B6518F409F}" sibTransId="{96A76BF4-30B6-4C55-A52B-564384C03F27}"/>
    <dgm:cxn modelId="{6C1A4CB1-AE10-43D7-B1B6-D853E897972B}" type="presOf" srcId="{81007FF2-FB02-489F-B89B-602354C9697E}" destId="{B8DAE763-FE04-4009-A72F-2385A38C2A13}" srcOrd="0" destOrd="0" presId="urn:microsoft.com/office/officeart/2005/8/layout/process2"/>
    <dgm:cxn modelId="{F1A724C5-91D3-46EF-A92C-FDFA88E5CB91}" srcId="{77914F4B-728A-4402-9C40-27AF957061B8}" destId="{81007FF2-FB02-489F-B89B-602354C9697E}" srcOrd="0" destOrd="0" parTransId="{D04C8276-952C-4803-B205-348B48B65FD2}" sibTransId="{8F07D0AF-8B00-443E-936B-1C9162ED6728}"/>
    <dgm:cxn modelId="{7F815FD4-7707-4AFF-AE3C-B6F0539BE1CE}" type="presOf" srcId="{77914F4B-728A-4402-9C40-27AF957061B8}" destId="{9634762B-58C0-4FCB-A213-3587E147C0EF}" srcOrd="0" destOrd="0" presId="urn:microsoft.com/office/officeart/2005/8/layout/process2"/>
    <dgm:cxn modelId="{3C8E16DF-F16D-48E7-AD97-9697019F935B}" type="presOf" srcId="{8F07D0AF-8B00-443E-936B-1C9162ED6728}" destId="{2B684433-2334-474E-BEFE-2D28AC96A581}" srcOrd="0" destOrd="0" presId="urn:microsoft.com/office/officeart/2005/8/layout/process2"/>
    <dgm:cxn modelId="{1E67FBEE-69CA-4812-866D-B36479CBD137}" type="presOf" srcId="{1A028F22-2F84-4021-908F-66EA2C44E152}" destId="{A02E207A-C4C7-41E3-B15A-03553DC3BC0C}" srcOrd="0" destOrd="0" presId="urn:microsoft.com/office/officeart/2005/8/layout/process2"/>
    <dgm:cxn modelId="{099FB736-E069-4ACA-91C9-AFE88CBC0297}" type="presParOf" srcId="{9634762B-58C0-4FCB-A213-3587E147C0EF}" destId="{B8DAE763-FE04-4009-A72F-2385A38C2A13}" srcOrd="0" destOrd="0" presId="urn:microsoft.com/office/officeart/2005/8/layout/process2"/>
    <dgm:cxn modelId="{481C17D6-D7DA-4334-AC2A-8ABCAC24150C}" type="presParOf" srcId="{9634762B-58C0-4FCB-A213-3587E147C0EF}" destId="{2B684433-2334-474E-BEFE-2D28AC96A581}" srcOrd="1" destOrd="0" presId="urn:microsoft.com/office/officeart/2005/8/layout/process2"/>
    <dgm:cxn modelId="{27800663-252E-4C3C-BE20-2CE015C0841A}" type="presParOf" srcId="{2B684433-2334-474E-BEFE-2D28AC96A581}" destId="{0CAFB26E-9DB2-430F-AB5F-C2C33829A0BC}" srcOrd="0" destOrd="0" presId="urn:microsoft.com/office/officeart/2005/8/layout/process2"/>
    <dgm:cxn modelId="{A8819BAD-6BA9-4E56-80A8-F832C64C9082}" type="presParOf" srcId="{9634762B-58C0-4FCB-A213-3587E147C0EF}" destId="{1CADC212-172F-49A4-80B6-D63B02D5128E}" srcOrd="2" destOrd="0" presId="urn:microsoft.com/office/officeart/2005/8/layout/process2"/>
    <dgm:cxn modelId="{2786D6B5-A2DC-4890-91D5-2C5689CC4F95}" type="presParOf" srcId="{9634762B-58C0-4FCB-A213-3587E147C0EF}" destId="{891494BE-AFB7-43F8-99A4-1FF8A7B34963}" srcOrd="3" destOrd="0" presId="urn:microsoft.com/office/officeart/2005/8/layout/process2"/>
    <dgm:cxn modelId="{15F31257-EBCA-467E-B974-AC8C05F8EE6A}" type="presParOf" srcId="{891494BE-AFB7-43F8-99A4-1FF8A7B34963}" destId="{D5A1672C-BC0B-48BA-8E9C-06916DA54775}" srcOrd="0" destOrd="0" presId="urn:microsoft.com/office/officeart/2005/8/layout/process2"/>
    <dgm:cxn modelId="{40DC49DA-38A9-4A09-A77D-88C522EB75DA}" type="presParOf" srcId="{9634762B-58C0-4FCB-A213-3587E147C0EF}" destId="{A02E207A-C4C7-41E3-B15A-03553DC3BC0C}" srcOrd="4"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BFA3F02-6A4A-4047-ADDE-B32A45C8F214}"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EC8EC067-7589-44AF-BEF3-AC51697F84D4}">
      <dgm:prSet phldrT="[Text]"/>
      <dgm:spPr/>
      <dgm:t>
        <a:bodyPr/>
        <a:lstStyle/>
        <a:p>
          <a:r>
            <a:rPr lang="en-US" dirty="0"/>
            <a:t>GPA &amp; </a:t>
          </a:r>
        </a:p>
        <a:p>
          <a:r>
            <a:rPr lang="en-US" dirty="0"/>
            <a:t>Free Trade Agreements</a:t>
          </a:r>
        </a:p>
      </dgm:t>
    </dgm:pt>
    <dgm:pt modelId="{D733F542-BA4D-4043-AD30-0E86C036AD22}" type="parTrans" cxnId="{0A564CE7-83E7-44A1-A1BF-9ED9E20507FA}">
      <dgm:prSet/>
      <dgm:spPr/>
      <dgm:t>
        <a:bodyPr/>
        <a:lstStyle/>
        <a:p>
          <a:endParaRPr lang="en-US"/>
        </a:p>
      </dgm:t>
    </dgm:pt>
    <dgm:pt modelId="{29449FCF-50B4-4738-AFBB-B37204723970}" type="sibTrans" cxnId="{0A564CE7-83E7-44A1-A1BF-9ED9E20507FA}">
      <dgm:prSet/>
      <dgm:spPr/>
      <dgm:t>
        <a:bodyPr/>
        <a:lstStyle/>
        <a:p>
          <a:endParaRPr lang="en-US"/>
        </a:p>
      </dgm:t>
    </dgm:pt>
    <dgm:pt modelId="{18F98234-CBBB-4DEF-A8F5-ACC31997FBBA}">
      <dgm:prSet phldrT="[Text]"/>
      <dgm:spPr>
        <a:solidFill>
          <a:srgbClr val="FFFF00"/>
        </a:solidFill>
      </dgm:spPr>
      <dgm:t>
        <a:bodyPr/>
        <a:lstStyle/>
        <a:p>
          <a:r>
            <a:rPr lang="en-US" dirty="0">
              <a:solidFill>
                <a:schemeClr val="bg2"/>
              </a:solidFill>
            </a:rPr>
            <a:t>Europe</a:t>
          </a:r>
        </a:p>
      </dgm:t>
    </dgm:pt>
    <dgm:pt modelId="{DFE204BF-89A5-40B3-A7F9-7866FD95AFB8}" type="parTrans" cxnId="{4BDDFFED-DF64-462F-8734-E614BBC46922}">
      <dgm:prSet/>
      <dgm:spPr/>
      <dgm:t>
        <a:bodyPr/>
        <a:lstStyle/>
        <a:p>
          <a:endParaRPr lang="en-US"/>
        </a:p>
      </dgm:t>
    </dgm:pt>
    <dgm:pt modelId="{E2972B4F-73CE-4E8B-B602-9411D0F1F0B3}" type="sibTrans" cxnId="{4BDDFFED-DF64-462F-8734-E614BBC46922}">
      <dgm:prSet/>
      <dgm:spPr/>
      <dgm:t>
        <a:bodyPr/>
        <a:lstStyle/>
        <a:p>
          <a:endParaRPr lang="en-US"/>
        </a:p>
      </dgm:t>
    </dgm:pt>
    <dgm:pt modelId="{40083DF3-7956-464A-B9EE-86FF8899ED88}">
      <dgm:prSet phldrT="[Text]"/>
      <dgm:spPr>
        <a:solidFill>
          <a:srgbClr val="FF0000"/>
        </a:solidFill>
      </dgm:spPr>
      <dgm:t>
        <a:bodyPr/>
        <a:lstStyle/>
        <a:p>
          <a:r>
            <a:rPr lang="en-US" dirty="0"/>
            <a:t>USA</a:t>
          </a:r>
        </a:p>
      </dgm:t>
    </dgm:pt>
    <dgm:pt modelId="{C203EA56-B00D-471C-BA7F-8B179DA094CC}" type="parTrans" cxnId="{5D8822E4-F84A-4D6C-9A20-A647456173F4}">
      <dgm:prSet/>
      <dgm:spPr/>
      <dgm:t>
        <a:bodyPr/>
        <a:lstStyle/>
        <a:p>
          <a:endParaRPr lang="en-US"/>
        </a:p>
      </dgm:t>
    </dgm:pt>
    <dgm:pt modelId="{94D2415A-B538-46C7-80E7-07A2CE1C25A3}" type="sibTrans" cxnId="{5D8822E4-F84A-4D6C-9A20-A647456173F4}">
      <dgm:prSet/>
      <dgm:spPr/>
      <dgm:t>
        <a:bodyPr/>
        <a:lstStyle/>
        <a:p>
          <a:endParaRPr lang="en-US"/>
        </a:p>
      </dgm:t>
    </dgm:pt>
    <dgm:pt modelId="{EB623E4A-1068-465A-B1B9-9F37D48A5EEA}">
      <dgm:prSet phldrT="[Text]"/>
      <dgm:spPr>
        <a:solidFill>
          <a:srgbClr val="00B050"/>
        </a:solidFill>
      </dgm:spPr>
      <dgm:t>
        <a:bodyPr/>
        <a:lstStyle/>
        <a:p>
          <a:r>
            <a:rPr lang="en-US" dirty="0"/>
            <a:t>Some Asian Nations</a:t>
          </a:r>
        </a:p>
      </dgm:t>
    </dgm:pt>
    <dgm:pt modelId="{0D92B0FC-699C-45C5-911C-D99703CCEC8E}" type="parTrans" cxnId="{90EB67E5-2A9E-4D52-AD96-66827294125C}">
      <dgm:prSet/>
      <dgm:spPr/>
      <dgm:t>
        <a:bodyPr/>
        <a:lstStyle/>
        <a:p>
          <a:endParaRPr lang="en-US"/>
        </a:p>
      </dgm:t>
    </dgm:pt>
    <dgm:pt modelId="{A7509027-409C-42D5-99CE-697CD64FBC84}" type="sibTrans" cxnId="{90EB67E5-2A9E-4D52-AD96-66827294125C}">
      <dgm:prSet/>
      <dgm:spPr/>
      <dgm:t>
        <a:bodyPr/>
        <a:lstStyle/>
        <a:p>
          <a:endParaRPr lang="en-US"/>
        </a:p>
      </dgm:t>
    </dgm:pt>
    <dgm:pt modelId="{8C1FA0E6-F209-4B4B-8DFB-363598C13296}">
      <dgm:prSet phldrT="[Text]"/>
      <dgm:spPr>
        <a:solidFill>
          <a:srgbClr val="00B050"/>
        </a:solidFill>
      </dgm:spPr>
      <dgm:t>
        <a:bodyPr/>
        <a:lstStyle/>
        <a:p>
          <a:r>
            <a:rPr lang="en-US" dirty="0"/>
            <a:t>Some Latin American Nations</a:t>
          </a:r>
        </a:p>
      </dgm:t>
    </dgm:pt>
    <dgm:pt modelId="{57726524-FB22-4DC6-97B4-74DC0AD6488B}" type="parTrans" cxnId="{E2BE4AFF-0B8F-46DE-97BD-96E1331CCAD8}">
      <dgm:prSet/>
      <dgm:spPr/>
      <dgm:t>
        <a:bodyPr/>
        <a:lstStyle/>
        <a:p>
          <a:endParaRPr lang="en-US"/>
        </a:p>
      </dgm:t>
    </dgm:pt>
    <dgm:pt modelId="{18BAE71E-DA0E-4FFA-AD78-606A8EB3BCCF}" type="sibTrans" cxnId="{E2BE4AFF-0B8F-46DE-97BD-96E1331CCAD8}">
      <dgm:prSet/>
      <dgm:spPr/>
      <dgm:t>
        <a:bodyPr/>
        <a:lstStyle/>
        <a:p>
          <a:endParaRPr lang="en-US"/>
        </a:p>
      </dgm:t>
    </dgm:pt>
    <dgm:pt modelId="{18A704A3-F65A-43DD-B0F1-93BF0C9A6E7E}" type="pres">
      <dgm:prSet presAssocID="{1BFA3F02-6A4A-4047-ADDE-B32A45C8F214}" presName="Name0" presStyleCnt="0">
        <dgm:presLayoutVars>
          <dgm:chMax val="1"/>
          <dgm:dir/>
          <dgm:animLvl val="ctr"/>
          <dgm:resizeHandles val="exact"/>
        </dgm:presLayoutVars>
      </dgm:prSet>
      <dgm:spPr/>
    </dgm:pt>
    <dgm:pt modelId="{84FF8A8F-3944-4533-9F3A-6046A2126DB8}" type="pres">
      <dgm:prSet presAssocID="{EC8EC067-7589-44AF-BEF3-AC51697F84D4}" presName="centerShape" presStyleLbl="node0" presStyleIdx="0" presStyleCnt="1" custLinFactNeighborX="-16" custLinFactNeighborY="2342"/>
      <dgm:spPr/>
    </dgm:pt>
    <dgm:pt modelId="{C5B0AB0C-A6A2-489B-B6CA-391787CD3A0B}" type="pres">
      <dgm:prSet presAssocID="{18F98234-CBBB-4DEF-A8F5-ACC31997FBBA}" presName="node" presStyleLbl="node1" presStyleIdx="0" presStyleCnt="4">
        <dgm:presLayoutVars>
          <dgm:bulletEnabled val="1"/>
        </dgm:presLayoutVars>
      </dgm:prSet>
      <dgm:spPr/>
    </dgm:pt>
    <dgm:pt modelId="{07C0D70E-0DA7-4950-B21C-06EAC2ABE23F}" type="pres">
      <dgm:prSet presAssocID="{18F98234-CBBB-4DEF-A8F5-ACC31997FBBA}" presName="dummy" presStyleCnt="0"/>
      <dgm:spPr/>
    </dgm:pt>
    <dgm:pt modelId="{C91EDE5C-D668-4F34-8921-C8E94220C6F3}" type="pres">
      <dgm:prSet presAssocID="{E2972B4F-73CE-4E8B-B602-9411D0F1F0B3}" presName="sibTrans" presStyleLbl="sibTrans2D1" presStyleIdx="0" presStyleCnt="4"/>
      <dgm:spPr/>
    </dgm:pt>
    <dgm:pt modelId="{E38B76FB-30E4-4852-831F-0E72C07200F6}" type="pres">
      <dgm:prSet presAssocID="{40083DF3-7956-464A-B9EE-86FF8899ED88}" presName="node" presStyleLbl="node1" presStyleIdx="1" presStyleCnt="4">
        <dgm:presLayoutVars>
          <dgm:bulletEnabled val="1"/>
        </dgm:presLayoutVars>
      </dgm:prSet>
      <dgm:spPr/>
    </dgm:pt>
    <dgm:pt modelId="{2ADB1103-4093-4867-A0F7-50F7CABD75AA}" type="pres">
      <dgm:prSet presAssocID="{40083DF3-7956-464A-B9EE-86FF8899ED88}" presName="dummy" presStyleCnt="0"/>
      <dgm:spPr/>
    </dgm:pt>
    <dgm:pt modelId="{0DFEB74D-FE58-40D8-B700-95FC6EC13FD8}" type="pres">
      <dgm:prSet presAssocID="{94D2415A-B538-46C7-80E7-07A2CE1C25A3}" presName="sibTrans" presStyleLbl="sibTrans2D1" presStyleIdx="1" presStyleCnt="4"/>
      <dgm:spPr/>
    </dgm:pt>
    <dgm:pt modelId="{598F6BB1-EA97-4C3E-9711-4824FE8AF5F9}" type="pres">
      <dgm:prSet presAssocID="{EB623E4A-1068-465A-B1B9-9F37D48A5EEA}" presName="node" presStyleLbl="node1" presStyleIdx="2" presStyleCnt="4">
        <dgm:presLayoutVars>
          <dgm:bulletEnabled val="1"/>
        </dgm:presLayoutVars>
      </dgm:prSet>
      <dgm:spPr/>
    </dgm:pt>
    <dgm:pt modelId="{79B25B98-ABA4-4313-B60A-1A5A094D5FEE}" type="pres">
      <dgm:prSet presAssocID="{EB623E4A-1068-465A-B1B9-9F37D48A5EEA}" presName="dummy" presStyleCnt="0"/>
      <dgm:spPr/>
    </dgm:pt>
    <dgm:pt modelId="{64E14E37-9268-470F-A76B-8F7C8DA51ED1}" type="pres">
      <dgm:prSet presAssocID="{A7509027-409C-42D5-99CE-697CD64FBC84}" presName="sibTrans" presStyleLbl="sibTrans2D1" presStyleIdx="2" presStyleCnt="4"/>
      <dgm:spPr/>
    </dgm:pt>
    <dgm:pt modelId="{21EF963C-748D-45BE-ABC0-8AA8977E6AA5}" type="pres">
      <dgm:prSet presAssocID="{8C1FA0E6-F209-4B4B-8DFB-363598C13296}" presName="node" presStyleLbl="node1" presStyleIdx="3" presStyleCnt="4">
        <dgm:presLayoutVars>
          <dgm:bulletEnabled val="1"/>
        </dgm:presLayoutVars>
      </dgm:prSet>
      <dgm:spPr/>
    </dgm:pt>
    <dgm:pt modelId="{A8A7506B-5FA8-4938-B730-227764F6A8FE}" type="pres">
      <dgm:prSet presAssocID="{8C1FA0E6-F209-4B4B-8DFB-363598C13296}" presName="dummy" presStyleCnt="0"/>
      <dgm:spPr/>
    </dgm:pt>
    <dgm:pt modelId="{A6A27D07-497B-44C2-A216-DA6F28728B52}" type="pres">
      <dgm:prSet presAssocID="{18BAE71E-DA0E-4FFA-AD78-606A8EB3BCCF}" presName="sibTrans" presStyleLbl="sibTrans2D1" presStyleIdx="3" presStyleCnt="4"/>
      <dgm:spPr/>
    </dgm:pt>
  </dgm:ptLst>
  <dgm:cxnLst>
    <dgm:cxn modelId="{57F3610D-97EA-4FEF-B0AF-916CB8443682}" type="presOf" srcId="{EB623E4A-1068-465A-B1B9-9F37D48A5EEA}" destId="{598F6BB1-EA97-4C3E-9711-4824FE8AF5F9}" srcOrd="0" destOrd="0" presId="urn:microsoft.com/office/officeart/2005/8/layout/radial6"/>
    <dgm:cxn modelId="{D9CB465E-4D3A-42A0-9D1C-DF7A802347D0}" type="presOf" srcId="{A7509027-409C-42D5-99CE-697CD64FBC84}" destId="{64E14E37-9268-470F-A76B-8F7C8DA51ED1}" srcOrd="0" destOrd="0" presId="urn:microsoft.com/office/officeart/2005/8/layout/radial6"/>
    <dgm:cxn modelId="{5CD8994D-2069-4351-ACFB-AABD952C477D}" type="presOf" srcId="{18F98234-CBBB-4DEF-A8F5-ACC31997FBBA}" destId="{C5B0AB0C-A6A2-489B-B6CA-391787CD3A0B}" srcOrd="0" destOrd="0" presId="urn:microsoft.com/office/officeart/2005/8/layout/radial6"/>
    <dgm:cxn modelId="{8227FC7C-594D-4621-8D22-52A79E854794}" type="presOf" srcId="{40083DF3-7956-464A-B9EE-86FF8899ED88}" destId="{E38B76FB-30E4-4852-831F-0E72C07200F6}" srcOrd="0" destOrd="0" presId="urn:microsoft.com/office/officeart/2005/8/layout/radial6"/>
    <dgm:cxn modelId="{D140FADE-10CA-48E8-BEE7-08B260C72E63}" type="presOf" srcId="{E2972B4F-73CE-4E8B-B602-9411D0F1F0B3}" destId="{C91EDE5C-D668-4F34-8921-C8E94220C6F3}" srcOrd="0" destOrd="0" presId="urn:microsoft.com/office/officeart/2005/8/layout/radial6"/>
    <dgm:cxn modelId="{5D8822E4-F84A-4D6C-9A20-A647456173F4}" srcId="{EC8EC067-7589-44AF-BEF3-AC51697F84D4}" destId="{40083DF3-7956-464A-B9EE-86FF8899ED88}" srcOrd="1" destOrd="0" parTransId="{C203EA56-B00D-471C-BA7F-8B179DA094CC}" sibTransId="{94D2415A-B538-46C7-80E7-07A2CE1C25A3}"/>
    <dgm:cxn modelId="{90EB67E5-2A9E-4D52-AD96-66827294125C}" srcId="{EC8EC067-7589-44AF-BEF3-AC51697F84D4}" destId="{EB623E4A-1068-465A-B1B9-9F37D48A5EEA}" srcOrd="2" destOrd="0" parTransId="{0D92B0FC-699C-45C5-911C-D99703CCEC8E}" sibTransId="{A7509027-409C-42D5-99CE-697CD64FBC84}"/>
    <dgm:cxn modelId="{0A564CE7-83E7-44A1-A1BF-9ED9E20507FA}" srcId="{1BFA3F02-6A4A-4047-ADDE-B32A45C8F214}" destId="{EC8EC067-7589-44AF-BEF3-AC51697F84D4}" srcOrd="0" destOrd="0" parTransId="{D733F542-BA4D-4043-AD30-0E86C036AD22}" sibTransId="{29449FCF-50B4-4738-AFBB-B37204723970}"/>
    <dgm:cxn modelId="{814168EA-3160-4A9A-B7A0-6B935225186A}" type="presOf" srcId="{8C1FA0E6-F209-4B4B-8DFB-363598C13296}" destId="{21EF963C-748D-45BE-ABC0-8AA8977E6AA5}" srcOrd="0" destOrd="0" presId="urn:microsoft.com/office/officeart/2005/8/layout/radial6"/>
    <dgm:cxn modelId="{9AFBB4EA-455B-4077-B83E-2327A809E5AB}" type="presOf" srcId="{18BAE71E-DA0E-4FFA-AD78-606A8EB3BCCF}" destId="{A6A27D07-497B-44C2-A216-DA6F28728B52}" srcOrd="0" destOrd="0" presId="urn:microsoft.com/office/officeart/2005/8/layout/radial6"/>
    <dgm:cxn modelId="{4BDDFFED-DF64-462F-8734-E614BBC46922}" srcId="{EC8EC067-7589-44AF-BEF3-AC51697F84D4}" destId="{18F98234-CBBB-4DEF-A8F5-ACC31997FBBA}" srcOrd="0" destOrd="0" parTransId="{DFE204BF-89A5-40B3-A7F9-7866FD95AFB8}" sibTransId="{E2972B4F-73CE-4E8B-B602-9411D0F1F0B3}"/>
    <dgm:cxn modelId="{78878BF4-3740-4DD3-9076-4B3C62030EA1}" type="presOf" srcId="{1BFA3F02-6A4A-4047-ADDE-B32A45C8F214}" destId="{18A704A3-F65A-43DD-B0F1-93BF0C9A6E7E}" srcOrd="0" destOrd="0" presId="urn:microsoft.com/office/officeart/2005/8/layout/radial6"/>
    <dgm:cxn modelId="{01F2C7F9-DEBE-4D41-9716-6368749EDF27}" type="presOf" srcId="{EC8EC067-7589-44AF-BEF3-AC51697F84D4}" destId="{84FF8A8F-3944-4533-9F3A-6046A2126DB8}" srcOrd="0" destOrd="0" presId="urn:microsoft.com/office/officeart/2005/8/layout/radial6"/>
    <dgm:cxn modelId="{A52FBBFC-B675-456A-9F21-BE5494DB59B6}" type="presOf" srcId="{94D2415A-B538-46C7-80E7-07A2CE1C25A3}" destId="{0DFEB74D-FE58-40D8-B700-95FC6EC13FD8}" srcOrd="0" destOrd="0" presId="urn:microsoft.com/office/officeart/2005/8/layout/radial6"/>
    <dgm:cxn modelId="{E2BE4AFF-0B8F-46DE-97BD-96E1331CCAD8}" srcId="{EC8EC067-7589-44AF-BEF3-AC51697F84D4}" destId="{8C1FA0E6-F209-4B4B-8DFB-363598C13296}" srcOrd="3" destOrd="0" parTransId="{57726524-FB22-4DC6-97B4-74DC0AD6488B}" sibTransId="{18BAE71E-DA0E-4FFA-AD78-606A8EB3BCCF}"/>
    <dgm:cxn modelId="{8B42AF3B-D914-405D-93FC-080841F47C26}" type="presParOf" srcId="{18A704A3-F65A-43DD-B0F1-93BF0C9A6E7E}" destId="{84FF8A8F-3944-4533-9F3A-6046A2126DB8}" srcOrd="0" destOrd="0" presId="urn:microsoft.com/office/officeart/2005/8/layout/radial6"/>
    <dgm:cxn modelId="{8E853ACF-2BB4-46AA-8BF5-D088380D2BB0}" type="presParOf" srcId="{18A704A3-F65A-43DD-B0F1-93BF0C9A6E7E}" destId="{C5B0AB0C-A6A2-489B-B6CA-391787CD3A0B}" srcOrd="1" destOrd="0" presId="urn:microsoft.com/office/officeart/2005/8/layout/radial6"/>
    <dgm:cxn modelId="{EA972F0E-FC6B-471D-90D0-D671C0075E8A}" type="presParOf" srcId="{18A704A3-F65A-43DD-B0F1-93BF0C9A6E7E}" destId="{07C0D70E-0DA7-4950-B21C-06EAC2ABE23F}" srcOrd="2" destOrd="0" presId="urn:microsoft.com/office/officeart/2005/8/layout/radial6"/>
    <dgm:cxn modelId="{09E9ED06-8643-4815-AAE8-C3BE75C6068F}" type="presParOf" srcId="{18A704A3-F65A-43DD-B0F1-93BF0C9A6E7E}" destId="{C91EDE5C-D668-4F34-8921-C8E94220C6F3}" srcOrd="3" destOrd="0" presId="urn:microsoft.com/office/officeart/2005/8/layout/radial6"/>
    <dgm:cxn modelId="{8835BA8C-432F-4AC0-B919-8296F73371D9}" type="presParOf" srcId="{18A704A3-F65A-43DD-B0F1-93BF0C9A6E7E}" destId="{E38B76FB-30E4-4852-831F-0E72C07200F6}" srcOrd="4" destOrd="0" presId="urn:microsoft.com/office/officeart/2005/8/layout/radial6"/>
    <dgm:cxn modelId="{89522A49-0758-4C51-9CF1-C1A47652CEAE}" type="presParOf" srcId="{18A704A3-F65A-43DD-B0F1-93BF0C9A6E7E}" destId="{2ADB1103-4093-4867-A0F7-50F7CABD75AA}" srcOrd="5" destOrd="0" presId="urn:microsoft.com/office/officeart/2005/8/layout/radial6"/>
    <dgm:cxn modelId="{31934F2D-1EA1-4D74-9EFE-C73BCF42B4C9}" type="presParOf" srcId="{18A704A3-F65A-43DD-B0F1-93BF0C9A6E7E}" destId="{0DFEB74D-FE58-40D8-B700-95FC6EC13FD8}" srcOrd="6" destOrd="0" presId="urn:microsoft.com/office/officeart/2005/8/layout/radial6"/>
    <dgm:cxn modelId="{D4663CD7-E075-4403-963D-D9D4ABBB5037}" type="presParOf" srcId="{18A704A3-F65A-43DD-B0F1-93BF0C9A6E7E}" destId="{598F6BB1-EA97-4C3E-9711-4824FE8AF5F9}" srcOrd="7" destOrd="0" presId="urn:microsoft.com/office/officeart/2005/8/layout/radial6"/>
    <dgm:cxn modelId="{8EE81237-1F99-44F2-A3C8-465C64463C87}" type="presParOf" srcId="{18A704A3-F65A-43DD-B0F1-93BF0C9A6E7E}" destId="{79B25B98-ABA4-4313-B60A-1A5A094D5FEE}" srcOrd="8" destOrd="0" presId="urn:microsoft.com/office/officeart/2005/8/layout/radial6"/>
    <dgm:cxn modelId="{CC7730FA-8401-49B9-9D52-A5BF1638EF7C}" type="presParOf" srcId="{18A704A3-F65A-43DD-B0F1-93BF0C9A6E7E}" destId="{64E14E37-9268-470F-A76B-8F7C8DA51ED1}" srcOrd="9" destOrd="0" presId="urn:microsoft.com/office/officeart/2005/8/layout/radial6"/>
    <dgm:cxn modelId="{6477C89B-10AA-47D9-BE54-E0D6DE3E8750}" type="presParOf" srcId="{18A704A3-F65A-43DD-B0F1-93BF0C9A6E7E}" destId="{21EF963C-748D-45BE-ABC0-8AA8977E6AA5}" srcOrd="10" destOrd="0" presId="urn:microsoft.com/office/officeart/2005/8/layout/radial6"/>
    <dgm:cxn modelId="{2091C8C4-ACC4-46B3-9D92-23DA9A404FE6}" type="presParOf" srcId="{18A704A3-F65A-43DD-B0F1-93BF0C9A6E7E}" destId="{A8A7506B-5FA8-4938-B730-227764F6A8FE}" srcOrd="11" destOrd="0" presId="urn:microsoft.com/office/officeart/2005/8/layout/radial6"/>
    <dgm:cxn modelId="{E1953EAF-FAAB-4C09-B5D7-13BA069633FD}" type="presParOf" srcId="{18A704A3-F65A-43DD-B0F1-93BF0C9A6E7E}" destId="{A6A27D07-497B-44C2-A216-DA6F28728B52}"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B68401D-9D56-448B-8523-E2F160C63695}" type="doc">
      <dgm:prSet loTypeId="urn:microsoft.com/office/officeart/2005/8/layout/pyramid3" loCatId="pyramid" qsTypeId="urn:microsoft.com/office/officeart/2005/8/quickstyle/simple1" qsCatId="simple" csTypeId="urn:microsoft.com/office/officeart/2005/8/colors/colorful1#1" csCatId="colorful" phldr="1"/>
      <dgm:spPr/>
    </dgm:pt>
    <dgm:pt modelId="{BD0FE624-0A30-4297-9D25-E9268A00C9F2}">
      <dgm:prSet phldrT="[Text]"/>
      <dgm:spPr/>
      <dgm:t>
        <a:bodyPr/>
        <a:lstStyle/>
        <a:p>
          <a:r>
            <a:rPr lang="en-US" dirty="0">
              <a:solidFill>
                <a:schemeClr val="bg1"/>
              </a:solidFill>
            </a:rPr>
            <a:t>Trade Agreements Act:  Above $180,000 (approx.)</a:t>
          </a:r>
        </a:p>
      </dgm:t>
    </dgm:pt>
    <dgm:pt modelId="{76C3112A-DB1F-44FD-B441-5877C8DA3982}" type="parTrans" cxnId="{2DA9AC7B-FC13-40C3-AA4E-8EDE649ADA96}">
      <dgm:prSet/>
      <dgm:spPr/>
      <dgm:t>
        <a:bodyPr/>
        <a:lstStyle/>
        <a:p>
          <a:endParaRPr lang="en-US"/>
        </a:p>
      </dgm:t>
    </dgm:pt>
    <dgm:pt modelId="{514DB5C0-6A2E-4199-BAF4-B72AAB08ADCA}" type="sibTrans" cxnId="{2DA9AC7B-FC13-40C3-AA4E-8EDE649ADA96}">
      <dgm:prSet/>
      <dgm:spPr/>
      <dgm:t>
        <a:bodyPr/>
        <a:lstStyle/>
        <a:p>
          <a:endParaRPr lang="en-US"/>
        </a:p>
      </dgm:t>
    </dgm:pt>
    <dgm:pt modelId="{899E7164-48A0-4BEF-A8C9-8BB2C2F0C589}">
      <dgm:prSet phldrT="[Text]"/>
      <dgm:spPr/>
      <dgm:t>
        <a:bodyPr/>
        <a:lstStyle/>
        <a:p>
          <a:r>
            <a:rPr lang="en-US" dirty="0">
              <a:solidFill>
                <a:schemeClr val="bg1"/>
              </a:solidFill>
            </a:rPr>
            <a:t>Buy American Act</a:t>
          </a:r>
        </a:p>
      </dgm:t>
    </dgm:pt>
    <dgm:pt modelId="{AFAAF796-5849-4C01-AE8B-ED1B8AAA5238}" type="parTrans" cxnId="{B19FC04D-9082-4B62-B75D-93BC10D81361}">
      <dgm:prSet/>
      <dgm:spPr/>
      <dgm:t>
        <a:bodyPr/>
        <a:lstStyle/>
        <a:p>
          <a:endParaRPr lang="en-US"/>
        </a:p>
      </dgm:t>
    </dgm:pt>
    <dgm:pt modelId="{0C3BCA13-6615-40A6-8C72-2EB54EE978EA}" type="sibTrans" cxnId="{B19FC04D-9082-4B62-B75D-93BC10D81361}">
      <dgm:prSet/>
      <dgm:spPr/>
      <dgm:t>
        <a:bodyPr/>
        <a:lstStyle/>
        <a:p>
          <a:endParaRPr lang="en-US"/>
        </a:p>
      </dgm:t>
    </dgm:pt>
    <dgm:pt modelId="{49E3EFCD-CC88-4508-A085-3A9504F23070}">
      <dgm:prSet phldrT="[Text]" custT="1"/>
      <dgm:spPr/>
      <dgm:t>
        <a:bodyPr/>
        <a:lstStyle/>
        <a:p>
          <a:r>
            <a:rPr lang="en-US" sz="1600" b="1" dirty="0">
              <a:solidFill>
                <a:schemeClr val="tx1"/>
              </a:solidFill>
            </a:rPr>
            <a:t>Micro-</a:t>
          </a:r>
        </a:p>
        <a:p>
          <a:r>
            <a:rPr lang="en-US" sz="1600" b="1" dirty="0">
              <a:solidFill>
                <a:schemeClr val="tx1"/>
              </a:solidFill>
            </a:rPr>
            <a:t>Purchase</a:t>
          </a:r>
          <a:r>
            <a:rPr lang="en-US" sz="1600" dirty="0">
              <a:solidFill>
                <a:schemeClr val="tx1"/>
              </a:solidFill>
            </a:rPr>
            <a:t>  </a:t>
          </a:r>
        </a:p>
        <a:p>
          <a:r>
            <a:rPr lang="en-US" sz="1600" dirty="0">
              <a:solidFill>
                <a:schemeClr val="bg1"/>
              </a:solidFill>
            </a:rPr>
            <a:t> </a:t>
          </a:r>
        </a:p>
      </dgm:t>
    </dgm:pt>
    <dgm:pt modelId="{81CCA29B-B528-4017-A070-EEEBBE733D7A}" type="parTrans" cxnId="{7A620C82-15AE-48CB-A1B1-69B63834AA17}">
      <dgm:prSet/>
      <dgm:spPr/>
      <dgm:t>
        <a:bodyPr/>
        <a:lstStyle/>
        <a:p>
          <a:endParaRPr lang="en-US"/>
        </a:p>
      </dgm:t>
    </dgm:pt>
    <dgm:pt modelId="{F12D6F1B-0417-40EC-8C3A-E11664F92FB1}" type="sibTrans" cxnId="{7A620C82-15AE-48CB-A1B1-69B63834AA17}">
      <dgm:prSet/>
      <dgm:spPr/>
      <dgm:t>
        <a:bodyPr/>
        <a:lstStyle/>
        <a:p>
          <a:endParaRPr lang="en-US"/>
        </a:p>
      </dgm:t>
    </dgm:pt>
    <dgm:pt modelId="{C30802E2-E4C9-49B9-82EC-9A8B7AEC575A}" type="pres">
      <dgm:prSet presAssocID="{EB68401D-9D56-448B-8523-E2F160C63695}" presName="Name0" presStyleCnt="0">
        <dgm:presLayoutVars>
          <dgm:dir/>
          <dgm:animLvl val="lvl"/>
          <dgm:resizeHandles val="exact"/>
        </dgm:presLayoutVars>
      </dgm:prSet>
      <dgm:spPr/>
    </dgm:pt>
    <dgm:pt modelId="{BC2D70BE-3FB9-4DD7-8065-38037A2A9B11}" type="pres">
      <dgm:prSet presAssocID="{BD0FE624-0A30-4297-9D25-E9268A00C9F2}" presName="Name8" presStyleCnt="0"/>
      <dgm:spPr/>
    </dgm:pt>
    <dgm:pt modelId="{9CE2F203-842B-4F99-8CE7-EF034D12B50E}" type="pres">
      <dgm:prSet presAssocID="{BD0FE624-0A30-4297-9D25-E9268A00C9F2}" presName="level" presStyleLbl="node1" presStyleIdx="0" presStyleCnt="3">
        <dgm:presLayoutVars>
          <dgm:chMax val="1"/>
          <dgm:bulletEnabled val="1"/>
        </dgm:presLayoutVars>
      </dgm:prSet>
      <dgm:spPr/>
    </dgm:pt>
    <dgm:pt modelId="{40737AD9-0D88-41C7-8903-6484FA740F40}" type="pres">
      <dgm:prSet presAssocID="{BD0FE624-0A30-4297-9D25-E9268A00C9F2}" presName="levelTx" presStyleLbl="revTx" presStyleIdx="0" presStyleCnt="0">
        <dgm:presLayoutVars>
          <dgm:chMax val="1"/>
          <dgm:bulletEnabled val="1"/>
        </dgm:presLayoutVars>
      </dgm:prSet>
      <dgm:spPr/>
    </dgm:pt>
    <dgm:pt modelId="{7925F536-A0C0-47BE-A3B8-D85A5B78D7CE}" type="pres">
      <dgm:prSet presAssocID="{899E7164-48A0-4BEF-A8C9-8BB2C2F0C589}" presName="Name8" presStyleCnt="0"/>
      <dgm:spPr/>
    </dgm:pt>
    <dgm:pt modelId="{F632E650-09C9-4A92-A2A1-9D6776B0C122}" type="pres">
      <dgm:prSet presAssocID="{899E7164-48A0-4BEF-A8C9-8BB2C2F0C589}" presName="level" presStyleLbl="node1" presStyleIdx="1" presStyleCnt="3">
        <dgm:presLayoutVars>
          <dgm:chMax val="1"/>
          <dgm:bulletEnabled val="1"/>
        </dgm:presLayoutVars>
      </dgm:prSet>
      <dgm:spPr/>
    </dgm:pt>
    <dgm:pt modelId="{34CF41C4-8FD9-4F56-98A7-8ADC25DB8CA4}" type="pres">
      <dgm:prSet presAssocID="{899E7164-48A0-4BEF-A8C9-8BB2C2F0C589}" presName="levelTx" presStyleLbl="revTx" presStyleIdx="0" presStyleCnt="0">
        <dgm:presLayoutVars>
          <dgm:chMax val="1"/>
          <dgm:bulletEnabled val="1"/>
        </dgm:presLayoutVars>
      </dgm:prSet>
      <dgm:spPr/>
    </dgm:pt>
    <dgm:pt modelId="{2A775EB1-DD91-4CD1-8B2A-B8052E4F6417}" type="pres">
      <dgm:prSet presAssocID="{49E3EFCD-CC88-4508-A085-3A9504F23070}" presName="Name8" presStyleCnt="0"/>
      <dgm:spPr/>
    </dgm:pt>
    <dgm:pt modelId="{329ECC2E-0B9D-4C4A-B2FB-4A530CE18C0F}" type="pres">
      <dgm:prSet presAssocID="{49E3EFCD-CC88-4508-A085-3A9504F23070}" presName="level" presStyleLbl="node1" presStyleIdx="2" presStyleCnt="3">
        <dgm:presLayoutVars>
          <dgm:chMax val="1"/>
          <dgm:bulletEnabled val="1"/>
        </dgm:presLayoutVars>
      </dgm:prSet>
      <dgm:spPr/>
    </dgm:pt>
    <dgm:pt modelId="{37DE16F2-D478-4440-8F16-24BA79D05559}" type="pres">
      <dgm:prSet presAssocID="{49E3EFCD-CC88-4508-A085-3A9504F23070}" presName="levelTx" presStyleLbl="revTx" presStyleIdx="0" presStyleCnt="0">
        <dgm:presLayoutVars>
          <dgm:chMax val="1"/>
          <dgm:bulletEnabled val="1"/>
        </dgm:presLayoutVars>
      </dgm:prSet>
      <dgm:spPr/>
    </dgm:pt>
  </dgm:ptLst>
  <dgm:cxnLst>
    <dgm:cxn modelId="{5949A92B-8F45-4279-9BDB-07F74DEF62D4}" type="presOf" srcId="{BD0FE624-0A30-4297-9D25-E9268A00C9F2}" destId="{9CE2F203-842B-4F99-8CE7-EF034D12B50E}" srcOrd="0" destOrd="0" presId="urn:microsoft.com/office/officeart/2005/8/layout/pyramid3"/>
    <dgm:cxn modelId="{227A805E-057A-405B-AD8F-39564801B92D}" type="presOf" srcId="{49E3EFCD-CC88-4508-A085-3A9504F23070}" destId="{329ECC2E-0B9D-4C4A-B2FB-4A530CE18C0F}" srcOrd="0" destOrd="0" presId="urn:microsoft.com/office/officeart/2005/8/layout/pyramid3"/>
    <dgm:cxn modelId="{4C0F3663-5EFE-47B4-82D5-FD36A784568F}" type="presOf" srcId="{BD0FE624-0A30-4297-9D25-E9268A00C9F2}" destId="{40737AD9-0D88-41C7-8903-6484FA740F40}" srcOrd="1" destOrd="0" presId="urn:microsoft.com/office/officeart/2005/8/layout/pyramid3"/>
    <dgm:cxn modelId="{B19FC04D-9082-4B62-B75D-93BC10D81361}" srcId="{EB68401D-9D56-448B-8523-E2F160C63695}" destId="{899E7164-48A0-4BEF-A8C9-8BB2C2F0C589}" srcOrd="1" destOrd="0" parTransId="{AFAAF796-5849-4C01-AE8B-ED1B8AAA5238}" sibTransId="{0C3BCA13-6615-40A6-8C72-2EB54EE978EA}"/>
    <dgm:cxn modelId="{2DA9AC7B-FC13-40C3-AA4E-8EDE649ADA96}" srcId="{EB68401D-9D56-448B-8523-E2F160C63695}" destId="{BD0FE624-0A30-4297-9D25-E9268A00C9F2}" srcOrd="0" destOrd="0" parTransId="{76C3112A-DB1F-44FD-B441-5877C8DA3982}" sibTransId="{514DB5C0-6A2E-4199-BAF4-B72AAB08ADCA}"/>
    <dgm:cxn modelId="{7A620C82-15AE-48CB-A1B1-69B63834AA17}" srcId="{EB68401D-9D56-448B-8523-E2F160C63695}" destId="{49E3EFCD-CC88-4508-A085-3A9504F23070}" srcOrd="2" destOrd="0" parTransId="{81CCA29B-B528-4017-A070-EEEBBE733D7A}" sibTransId="{F12D6F1B-0417-40EC-8C3A-E11664F92FB1}"/>
    <dgm:cxn modelId="{62521090-B017-4092-A3D3-6238DBAAE8F6}" type="presOf" srcId="{EB68401D-9D56-448B-8523-E2F160C63695}" destId="{C30802E2-E4C9-49B9-82EC-9A8B7AEC575A}" srcOrd="0" destOrd="0" presId="urn:microsoft.com/office/officeart/2005/8/layout/pyramid3"/>
    <dgm:cxn modelId="{FA9B349F-BE05-41D4-8371-2C60C28AEAF9}" type="presOf" srcId="{899E7164-48A0-4BEF-A8C9-8BB2C2F0C589}" destId="{34CF41C4-8FD9-4F56-98A7-8ADC25DB8CA4}" srcOrd="1" destOrd="0" presId="urn:microsoft.com/office/officeart/2005/8/layout/pyramid3"/>
    <dgm:cxn modelId="{CD573ECB-BA3F-46F2-9D46-C1637B901CFC}" type="presOf" srcId="{49E3EFCD-CC88-4508-A085-3A9504F23070}" destId="{37DE16F2-D478-4440-8F16-24BA79D05559}" srcOrd="1" destOrd="0" presId="urn:microsoft.com/office/officeart/2005/8/layout/pyramid3"/>
    <dgm:cxn modelId="{A48E86E8-C5AF-4856-A4C5-41B3A39A1B81}" type="presOf" srcId="{899E7164-48A0-4BEF-A8C9-8BB2C2F0C589}" destId="{F632E650-09C9-4A92-A2A1-9D6776B0C122}" srcOrd="0" destOrd="0" presId="urn:microsoft.com/office/officeart/2005/8/layout/pyramid3"/>
    <dgm:cxn modelId="{54498BB7-8727-47D1-B70F-BBB3FFF65E9F}" type="presParOf" srcId="{C30802E2-E4C9-49B9-82EC-9A8B7AEC575A}" destId="{BC2D70BE-3FB9-4DD7-8065-38037A2A9B11}" srcOrd="0" destOrd="0" presId="urn:microsoft.com/office/officeart/2005/8/layout/pyramid3"/>
    <dgm:cxn modelId="{B19A99E7-D0E0-4F16-AE58-7D4A7F8AB762}" type="presParOf" srcId="{BC2D70BE-3FB9-4DD7-8065-38037A2A9B11}" destId="{9CE2F203-842B-4F99-8CE7-EF034D12B50E}" srcOrd="0" destOrd="0" presId="urn:microsoft.com/office/officeart/2005/8/layout/pyramid3"/>
    <dgm:cxn modelId="{D742A632-8992-4778-932D-342FE212EB53}" type="presParOf" srcId="{BC2D70BE-3FB9-4DD7-8065-38037A2A9B11}" destId="{40737AD9-0D88-41C7-8903-6484FA740F40}" srcOrd="1" destOrd="0" presId="urn:microsoft.com/office/officeart/2005/8/layout/pyramid3"/>
    <dgm:cxn modelId="{3EF4066A-858C-4E5A-8B38-FEF236D5F735}" type="presParOf" srcId="{C30802E2-E4C9-49B9-82EC-9A8B7AEC575A}" destId="{7925F536-A0C0-47BE-A3B8-D85A5B78D7CE}" srcOrd="1" destOrd="0" presId="urn:microsoft.com/office/officeart/2005/8/layout/pyramid3"/>
    <dgm:cxn modelId="{7CFE1336-C0F2-4EAD-AE3A-1846A541C20C}" type="presParOf" srcId="{7925F536-A0C0-47BE-A3B8-D85A5B78D7CE}" destId="{F632E650-09C9-4A92-A2A1-9D6776B0C122}" srcOrd="0" destOrd="0" presId="urn:microsoft.com/office/officeart/2005/8/layout/pyramid3"/>
    <dgm:cxn modelId="{AAB61014-CA85-4308-B7BA-86791A5B5AE0}" type="presParOf" srcId="{7925F536-A0C0-47BE-A3B8-D85A5B78D7CE}" destId="{34CF41C4-8FD9-4F56-98A7-8ADC25DB8CA4}" srcOrd="1" destOrd="0" presId="urn:microsoft.com/office/officeart/2005/8/layout/pyramid3"/>
    <dgm:cxn modelId="{F0C751AE-84FE-4987-8E47-8A3DEE796F0F}" type="presParOf" srcId="{C30802E2-E4C9-49B9-82EC-9A8B7AEC575A}" destId="{2A775EB1-DD91-4CD1-8B2A-B8052E4F6417}" srcOrd="2" destOrd="0" presId="urn:microsoft.com/office/officeart/2005/8/layout/pyramid3"/>
    <dgm:cxn modelId="{F917B450-0686-447B-B6B4-ADD5D1646473}" type="presParOf" srcId="{2A775EB1-DD91-4CD1-8B2A-B8052E4F6417}" destId="{329ECC2E-0B9D-4C4A-B2FB-4A530CE18C0F}" srcOrd="0" destOrd="0" presId="urn:microsoft.com/office/officeart/2005/8/layout/pyramid3"/>
    <dgm:cxn modelId="{32D85454-DD13-42B3-9066-FB09F4FEC863}" type="presParOf" srcId="{2A775EB1-DD91-4CD1-8B2A-B8052E4F6417}" destId="{37DE16F2-D478-4440-8F16-24BA79D05559}"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EB6D33-A591-4553-9F67-E6298881EC43}">
      <dsp:nvSpPr>
        <dsp:cNvPr id="0" name=""/>
        <dsp:cNvSpPr/>
      </dsp:nvSpPr>
      <dsp:spPr>
        <a:xfrm>
          <a:off x="4267088" y="1293155"/>
          <a:ext cx="2234654" cy="531746"/>
        </a:xfrm>
        <a:custGeom>
          <a:avLst/>
          <a:gdLst/>
          <a:ahLst/>
          <a:cxnLst/>
          <a:rect l="0" t="0" r="0" b="0"/>
          <a:pathLst>
            <a:path>
              <a:moveTo>
                <a:pt x="0" y="0"/>
              </a:moveTo>
              <a:lnTo>
                <a:pt x="0" y="362369"/>
              </a:lnTo>
              <a:lnTo>
                <a:pt x="2234654" y="362369"/>
              </a:lnTo>
              <a:lnTo>
                <a:pt x="2234654"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4D03C2-CC11-4F96-93B9-28AA2C1F05C2}">
      <dsp:nvSpPr>
        <dsp:cNvPr id="0" name=""/>
        <dsp:cNvSpPr/>
      </dsp:nvSpPr>
      <dsp:spPr>
        <a:xfrm>
          <a:off x="4221368" y="1293155"/>
          <a:ext cx="91440" cy="531746"/>
        </a:xfrm>
        <a:custGeom>
          <a:avLst/>
          <a:gdLst/>
          <a:ahLst/>
          <a:cxnLst/>
          <a:rect l="0" t="0" r="0" b="0"/>
          <a:pathLst>
            <a:path>
              <a:moveTo>
                <a:pt x="45720" y="0"/>
              </a:moveTo>
              <a:lnTo>
                <a:pt x="4572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CCC4D2-E953-4509-9CA3-CFEAA9F05D43}">
      <dsp:nvSpPr>
        <dsp:cNvPr id="0" name=""/>
        <dsp:cNvSpPr/>
      </dsp:nvSpPr>
      <dsp:spPr>
        <a:xfrm>
          <a:off x="2032434" y="2985905"/>
          <a:ext cx="1117327" cy="531746"/>
        </a:xfrm>
        <a:custGeom>
          <a:avLst/>
          <a:gdLst/>
          <a:ahLst/>
          <a:cxnLst/>
          <a:rect l="0" t="0" r="0" b="0"/>
          <a:pathLst>
            <a:path>
              <a:moveTo>
                <a:pt x="0" y="0"/>
              </a:moveTo>
              <a:lnTo>
                <a:pt x="0" y="362369"/>
              </a:lnTo>
              <a:lnTo>
                <a:pt x="1117327" y="362369"/>
              </a:lnTo>
              <a:lnTo>
                <a:pt x="1117327"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A2F6AD-341F-4EF8-90ED-99E86BA5FED2}">
      <dsp:nvSpPr>
        <dsp:cNvPr id="0" name=""/>
        <dsp:cNvSpPr/>
      </dsp:nvSpPr>
      <dsp:spPr>
        <a:xfrm>
          <a:off x="915106" y="2985905"/>
          <a:ext cx="1117327" cy="531746"/>
        </a:xfrm>
        <a:custGeom>
          <a:avLst/>
          <a:gdLst/>
          <a:ahLst/>
          <a:cxnLst/>
          <a:rect l="0" t="0" r="0" b="0"/>
          <a:pathLst>
            <a:path>
              <a:moveTo>
                <a:pt x="1117327" y="0"/>
              </a:moveTo>
              <a:lnTo>
                <a:pt x="1117327" y="362369"/>
              </a:lnTo>
              <a:lnTo>
                <a:pt x="0" y="362369"/>
              </a:lnTo>
              <a:lnTo>
                <a:pt x="0"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AB6275-5109-4845-BA11-76D6D227495D}">
      <dsp:nvSpPr>
        <dsp:cNvPr id="0" name=""/>
        <dsp:cNvSpPr/>
      </dsp:nvSpPr>
      <dsp:spPr>
        <a:xfrm>
          <a:off x="2032434" y="1293155"/>
          <a:ext cx="2234654" cy="531746"/>
        </a:xfrm>
        <a:custGeom>
          <a:avLst/>
          <a:gdLst/>
          <a:ahLst/>
          <a:cxnLst/>
          <a:rect l="0" t="0" r="0" b="0"/>
          <a:pathLst>
            <a:path>
              <a:moveTo>
                <a:pt x="2234654" y="0"/>
              </a:moveTo>
              <a:lnTo>
                <a:pt x="2234654" y="362369"/>
              </a:lnTo>
              <a:lnTo>
                <a:pt x="0" y="362369"/>
              </a:lnTo>
              <a:lnTo>
                <a:pt x="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99508-046E-4AE0-9236-7F6CA568B9C5}">
      <dsp:nvSpPr>
        <dsp:cNvPr id="0" name=""/>
        <dsp:cNvSpPr/>
      </dsp:nvSpPr>
      <dsp:spPr>
        <a:xfrm>
          <a:off x="3352911" y="132150"/>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030B88-6520-4453-A1CB-A85E32B69A60}">
      <dsp:nvSpPr>
        <dsp:cNvPr id="0" name=""/>
        <dsp:cNvSpPr/>
      </dsp:nvSpPr>
      <dsp:spPr>
        <a:xfrm>
          <a:off x="3556062" y="325143"/>
          <a:ext cx="1828353" cy="1161004"/>
        </a:xfrm>
        <a:prstGeom prst="roundRect">
          <a:avLst>
            <a:gd name="adj" fmla="val 10000"/>
          </a:avLst>
        </a:prstGeom>
        <a:solidFill>
          <a:srgbClr val="7030A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rPr>
            <a:t>Federal Acquisition Regulation (FAR)</a:t>
          </a:r>
        </a:p>
      </dsp:txBody>
      <dsp:txXfrm>
        <a:off x="3590067" y="359148"/>
        <a:ext cx="1760343" cy="1092994"/>
      </dsp:txXfrm>
    </dsp:sp>
    <dsp:sp modelId="{214125FD-F1D6-49D5-9EE6-1405809DEC02}">
      <dsp:nvSpPr>
        <dsp:cNvPr id="0" name=""/>
        <dsp:cNvSpPr/>
      </dsp:nvSpPr>
      <dsp:spPr>
        <a:xfrm>
          <a:off x="1118257"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A84F54-7B19-45E6-B45F-F9F9D54DC709}">
      <dsp:nvSpPr>
        <dsp:cNvPr id="0" name=""/>
        <dsp:cNvSpPr/>
      </dsp:nvSpPr>
      <dsp:spPr>
        <a:xfrm>
          <a:off x="1321407" y="201789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Federal Acquisition Regulation Supplement</a:t>
          </a:r>
        </a:p>
      </dsp:txBody>
      <dsp:txXfrm>
        <a:off x="1355412" y="2051899"/>
        <a:ext cx="1760343" cy="1092994"/>
      </dsp:txXfrm>
    </dsp:sp>
    <dsp:sp modelId="{73663E2A-ECF5-4924-9BFC-F72E2200CB03}">
      <dsp:nvSpPr>
        <dsp:cNvPr id="0" name=""/>
        <dsp:cNvSpPr/>
      </dsp:nvSpPr>
      <dsp:spPr>
        <a:xfrm>
          <a:off x="930"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D18195-9BBD-4709-B17B-28814005E718}">
      <dsp:nvSpPr>
        <dsp:cNvPr id="0" name=""/>
        <dsp:cNvSpPr/>
      </dsp:nvSpPr>
      <dsp:spPr>
        <a:xfrm>
          <a:off x="204080"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Logistics Agency Supplement</a:t>
          </a:r>
        </a:p>
      </dsp:txBody>
      <dsp:txXfrm>
        <a:off x="238085" y="3744649"/>
        <a:ext cx="1760343" cy="1092994"/>
      </dsp:txXfrm>
    </dsp:sp>
    <dsp:sp modelId="{9586C6E0-026D-4F51-AFF6-4E596228691E}">
      <dsp:nvSpPr>
        <dsp:cNvPr id="0" name=""/>
        <dsp:cNvSpPr/>
      </dsp:nvSpPr>
      <dsp:spPr>
        <a:xfrm>
          <a:off x="2235584"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01565A-0E7B-497F-9EA9-289CEE3794BC}">
      <dsp:nvSpPr>
        <dsp:cNvPr id="0" name=""/>
        <dsp:cNvSpPr/>
      </dsp:nvSpPr>
      <dsp:spPr>
        <a:xfrm>
          <a:off x="2438734"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Other Defense </a:t>
          </a:r>
          <a:r>
            <a:rPr lang="en-US" sz="1800" kern="1200" dirty="0" err="1">
              <a:solidFill>
                <a:schemeClr val="tx1"/>
              </a:solidFill>
            </a:rPr>
            <a:t>Subagency</a:t>
          </a:r>
          <a:r>
            <a:rPr lang="en-US" sz="1800" kern="1200" dirty="0">
              <a:solidFill>
                <a:schemeClr val="tx1"/>
              </a:solidFill>
            </a:rPr>
            <a:t> Supplements</a:t>
          </a:r>
        </a:p>
      </dsp:txBody>
      <dsp:txXfrm>
        <a:off x="2472739" y="3744649"/>
        <a:ext cx="1760343" cy="1092994"/>
      </dsp:txXfrm>
    </dsp:sp>
    <dsp:sp modelId="{0BF73CE5-171A-41C0-91E9-ED47D88D46C1}">
      <dsp:nvSpPr>
        <dsp:cNvPr id="0" name=""/>
        <dsp:cNvSpPr/>
      </dsp:nvSpPr>
      <dsp:spPr>
        <a:xfrm>
          <a:off x="3352911"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1F3B5C-2501-4FD9-93ED-4E696557C1E0}">
      <dsp:nvSpPr>
        <dsp:cNvPr id="0" name=""/>
        <dsp:cNvSpPr/>
      </dsp:nvSpPr>
      <dsp:spPr>
        <a:xfrm>
          <a:off x="3556062" y="2017894"/>
          <a:ext cx="1828353" cy="1161004"/>
        </a:xfrm>
        <a:prstGeom prst="roundRect">
          <a:avLst>
            <a:gd name="adj" fmla="val 10000"/>
          </a:avLst>
        </a:prstGeom>
        <a:solidFill>
          <a:srgbClr val="CC66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3590067" y="2051899"/>
        <a:ext cx="1760343" cy="1092994"/>
      </dsp:txXfrm>
    </dsp:sp>
    <dsp:sp modelId="{987646A6-CF18-440F-908E-7DD1A73B6D14}">
      <dsp:nvSpPr>
        <dsp:cNvPr id="0" name=""/>
        <dsp:cNvSpPr/>
      </dsp:nvSpPr>
      <dsp:spPr>
        <a:xfrm>
          <a:off x="5587565"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F8D9B5-6D3B-430E-8F2D-4450EAB5F2F4}">
      <dsp:nvSpPr>
        <dsp:cNvPr id="0" name=""/>
        <dsp:cNvSpPr/>
      </dsp:nvSpPr>
      <dsp:spPr>
        <a:xfrm>
          <a:off x="5790716" y="2017894"/>
          <a:ext cx="1828353" cy="1161004"/>
        </a:xfrm>
        <a:prstGeom prst="roundRect">
          <a:avLst>
            <a:gd name="adj" fmla="val 10000"/>
          </a:avLst>
        </a:prstGeom>
        <a:solidFill>
          <a:srgbClr val="C000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5824721" y="2051899"/>
        <a:ext cx="1760343" cy="10929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EB6D33-A591-4553-9F67-E6298881EC43}">
      <dsp:nvSpPr>
        <dsp:cNvPr id="0" name=""/>
        <dsp:cNvSpPr/>
      </dsp:nvSpPr>
      <dsp:spPr>
        <a:xfrm>
          <a:off x="4267088" y="1293155"/>
          <a:ext cx="2234654" cy="531746"/>
        </a:xfrm>
        <a:custGeom>
          <a:avLst/>
          <a:gdLst/>
          <a:ahLst/>
          <a:cxnLst/>
          <a:rect l="0" t="0" r="0" b="0"/>
          <a:pathLst>
            <a:path>
              <a:moveTo>
                <a:pt x="0" y="0"/>
              </a:moveTo>
              <a:lnTo>
                <a:pt x="0" y="362369"/>
              </a:lnTo>
              <a:lnTo>
                <a:pt x="2234654" y="362369"/>
              </a:lnTo>
              <a:lnTo>
                <a:pt x="2234654"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4D03C2-CC11-4F96-93B9-28AA2C1F05C2}">
      <dsp:nvSpPr>
        <dsp:cNvPr id="0" name=""/>
        <dsp:cNvSpPr/>
      </dsp:nvSpPr>
      <dsp:spPr>
        <a:xfrm>
          <a:off x="4221368" y="1293155"/>
          <a:ext cx="91440" cy="531746"/>
        </a:xfrm>
        <a:custGeom>
          <a:avLst/>
          <a:gdLst/>
          <a:ahLst/>
          <a:cxnLst/>
          <a:rect l="0" t="0" r="0" b="0"/>
          <a:pathLst>
            <a:path>
              <a:moveTo>
                <a:pt x="45720" y="0"/>
              </a:moveTo>
              <a:lnTo>
                <a:pt x="4572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CCC4D2-E953-4509-9CA3-CFEAA9F05D43}">
      <dsp:nvSpPr>
        <dsp:cNvPr id="0" name=""/>
        <dsp:cNvSpPr/>
      </dsp:nvSpPr>
      <dsp:spPr>
        <a:xfrm>
          <a:off x="2032434" y="2985905"/>
          <a:ext cx="1117327" cy="531746"/>
        </a:xfrm>
        <a:custGeom>
          <a:avLst/>
          <a:gdLst/>
          <a:ahLst/>
          <a:cxnLst/>
          <a:rect l="0" t="0" r="0" b="0"/>
          <a:pathLst>
            <a:path>
              <a:moveTo>
                <a:pt x="0" y="0"/>
              </a:moveTo>
              <a:lnTo>
                <a:pt x="0" y="362369"/>
              </a:lnTo>
              <a:lnTo>
                <a:pt x="1117327" y="362369"/>
              </a:lnTo>
              <a:lnTo>
                <a:pt x="1117327"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A2F6AD-341F-4EF8-90ED-99E86BA5FED2}">
      <dsp:nvSpPr>
        <dsp:cNvPr id="0" name=""/>
        <dsp:cNvSpPr/>
      </dsp:nvSpPr>
      <dsp:spPr>
        <a:xfrm>
          <a:off x="915106" y="2985905"/>
          <a:ext cx="1117327" cy="531746"/>
        </a:xfrm>
        <a:custGeom>
          <a:avLst/>
          <a:gdLst/>
          <a:ahLst/>
          <a:cxnLst/>
          <a:rect l="0" t="0" r="0" b="0"/>
          <a:pathLst>
            <a:path>
              <a:moveTo>
                <a:pt x="1117327" y="0"/>
              </a:moveTo>
              <a:lnTo>
                <a:pt x="1117327" y="362369"/>
              </a:lnTo>
              <a:lnTo>
                <a:pt x="0" y="362369"/>
              </a:lnTo>
              <a:lnTo>
                <a:pt x="0"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AB6275-5109-4845-BA11-76D6D227495D}">
      <dsp:nvSpPr>
        <dsp:cNvPr id="0" name=""/>
        <dsp:cNvSpPr/>
      </dsp:nvSpPr>
      <dsp:spPr>
        <a:xfrm>
          <a:off x="2032434" y="1293155"/>
          <a:ext cx="2234654" cy="531746"/>
        </a:xfrm>
        <a:custGeom>
          <a:avLst/>
          <a:gdLst/>
          <a:ahLst/>
          <a:cxnLst/>
          <a:rect l="0" t="0" r="0" b="0"/>
          <a:pathLst>
            <a:path>
              <a:moveTo>
                <a:pt x="2234654" y="0"/>
              </a:moveTo>
              <a:lnTo>
                <a:pt x="2234654" y="362369"/>
              </a:lnTo>
              <a:lnTo>
                <a:pt x="0" y="362369"/>
              </a:lnTo>
              <a:lnTo>
                <a:pt x="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99508-046E-4AE0-9236-7F6CA568B9C5}">
      <dsp:nvSpPr>
        <dsp:cNvPr id="0" name=""/>
        <dsp:cNvSpPr/>
      </dsp:nvSpPr>
      <dsp:spPr>
        <a:xfrm>
          <a:off x="3352911" y="132150"/>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030B88-6520-4453-A1CB-A85E32B69A60}">
      <dsp:nvSpPr>
        <dsp:cNvPr id="0" name=""/>
        <dsp:cNvSpPr/>
      </dsp:nvSpPr>
      <dsp:spPr>
        <a:xfrm>
          <a:off x="3556062" y="325143"/>
          <a:ext cx="1828353" cy="1161004"/>
        </a:xfrm>
        <a:prstGeom prst="roundRect">
          <a:avLst>
            <a:gd name="adj" fmla="val 10000"/>
          </a:avLst>
        </a:prstGeom>
        <a:solidFill>
          <a:srgbClr val="7030A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rPr>
            <a:t>Federal Acquisition Regulation (FAR)</a:t>
          </a:r>
        </a:p>
      </dsp:txBody>
      <dsp:txXfrm>
        <a:off x="3590067" y="359148"/>
        <a:ext cx="1760343" cy="1092994"/>
      </dsp:txXfrm>
    </dsp:sp>
    <dsp:sp modelId="{214125FD-F1D6-49D5-9EE6-1405809DEC02}">
      <dsp:nvSpPr>
        <dsp:cNvPr id="0" name=""/>
        <dsp:cNvSpPr/>
      </dsp:nvSpPr>
      <dsp:spPr>
        <a:xfrm>
          <a:off x="1118257"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A84F54-7B19-45E6-B45F-F9F9D54DC709}">
      <dsp:nvSpPr>
        <dsp:cNvPr id="0" name=""/>
        <dsp:cNvSpPr/>
      </dsp:nvSpPr>
      <dsp:spPr>
        <a:xfrm>
          <a:off x="1321407" y="201789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Federal Acquisition Regulation Supplement</a:t>
          </a:r>
        </a:p>
      </dsp:txBody>
      <dsp:txXfrm>
        <a:off x="1355412" y="2051899"/>
        <a:ext cx="1760343" cy="1092994"/>
      </dsp:txXfrm>
    </dsp:sp>
    <dsp:sp modelId="{73663E2A-ECF5-4924-9BFC-F72E2200CB03}">
      <dsp:nvSpPr>
        <dsp:cNvPr id="0" name=""/>
        <dsp:cNvSpPr/>
      </dsp:nvSpPr>
      <dsp:spPr>
        <a:xfrm>
          <a:off x="930"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D18195-9BBD-4709-B17B-28814005E718}">
      <dsp:nvSpPr>
        <dsp:cNvPr id="0" name=""/>
        <dsp:cNvSpPr/>
      </dsp:nvSpPr>
      <dsp:spPr>
        <a:xfrm>
          <a:off x="204080"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Logistics Agency Supplement</a:t>
          </a:r>
        </a:p>
      </dsp:txBody>
      <dsp:txXfrm>
        <a:off x="238085" y="3744649"/>
        <a:ext cx="1760343" cy="1092994"/>
      </dsp:txXfrm>
    </dsp:sp>
    <dsp:sp modelId="{9586C6E0-026D-4F51-AFF6-4E596228691E}">
      <dsp:nvSpPr>
        <dsp:cNvPr id="0" name=""/>
        <dsp:cNvSpPr/>
      </dsp:nvSpPr>
      <dsp:spPr>
        <a:xfrm>
          <a:off x="2235584"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01565A-0E7B-497F-9EA9-289CEE3794BC}">
      <dsp:nvSpPr>
        <dsp:cNvPr id="0" name=""/>
        <dsp:cNvSpPr/>
      </dsp:nvSpPr>
      <dsp:spPr>
        <a:xfrm>
          <a:off x="2438734"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Other Defense </a:t>
          </a:r>
          <a:r>
            <a:rPr lang="en-US" sz="1800" kern="1200" dirty="0" err="1">
              <a:solidFill>
                <a:schemeClr val="tx1"/>
              </a:solidFill>
            </a:rPr>
            <a:t>Subagency</a:t>
          </a:r>
          <a:r>
            <a:rPr lang="en-US" sz="1800" kern="1200" dirty="0">
              <a:solidFill>
                <a:schemeClr val="tx1"/>
              </a:solidFill>
            </a:rPr>
            <a:t> Supplements</a:t>
          </a:r>
        </a:p>
      </dsp:txBody>
      <dsp:txXfrm>
        <a:off x="2472739" y="3744649"/>
        <a:ext cx="1760343" cy="1092994"/>
      </dsp:txXfrm>
    </dsp:sp>
    <dsp:sp modelId="{0BF73CE5-171A-41C0-91E9-ED47D88D46C1}">
      <dsp:nvSpPr>
        <dsp:cNvPr id="0" name=""/>
        <dsp:cNvSpPr/>
      </dsp:nvSpPr>
      <dsp:spPr>
        <a:xfrm>
          <a:off x="3352911"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1F3B5C-2501-4FD9-93ED-4E696557C1E0}">
      <dsp:nvSpPr>
        <dsp:cNvPr id="0" name=""/>
        <dsp:cNvSpPr/>
      </dsp:nvSpPr>
      <dsp:spPr>
        <a:xfrm>
          <a:off x="3556062" y="2017894"/>
          <a:ext cx="1828353" cy="1161004"/>
        </a:xfrm>
        <a:prstGeom prst="roundRect">
          <a:avLst>
            <a:gd name="adj" fmla="val 10000"/>
          </a:avLst>
        </a:prstGeom>
        <a:solidFill>
          <a:srgbClr val="CC66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3590067" y="2051899"/>
        <a:ext cx="1760343" cy="1092994"/>
      </dsp:txXfrm>
    </dsp:sp>
    <dsp:sp modelId="{987646A6-CF18-440F-908E-7DD1A73B6D14}">
      <dsp:nvSpPr>
        <dsp:cNvPr id="0" name=""/>
        <dsp:cNvSpPr/>
      </dsp:nvSpPr>
      <dsp:spPr>
        <a:xfrm>
          <a:off x="5587565"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F8D9B5-6D3B-430E-8F2D-4450EAB5F2F4}">
      <dsp:nvSpPr>
        <dsp:cNvPr id="0" name=""/>
        <dsp:cNvSpPr/>
      </dsp:nvSpPr>
      <dsp:spPr>
        <a:xfrm>
          <a:off x="5790716" y="2017894"/>
          <a:ext cx="1828353" cy="1161004"/>
        </a:xfrm>
        <a:prstGeom prst="roundRect">
          <a:avLst>
            <a:gd name="adj" fmla="val 10000"/>
          </a:avLst>
        </a:prstGeom>
        <a:solidFill>
          <a:srgbClr val="C000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5824721" y="2051899"/>
        <a:ext cx="1760343" cy="10929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8547D4-F2C2-4F79-B65B-C4AB9A86B58A}">
      <dsp:nvSpPr>
        <dsp:cNvPr id="0" name=""/>
        <dsp:cNvSpPr/>
      </dsp:nvSpPr>
      <dsp:spPr>
        <a:xfrm>
          <a:off x="0" y="0"/>
          <a:ext cx="9144000" cy="2057400"/>
        </a:xfrm>
        <a:prstGeom prst="rect">
          <a:avLst/>
        </a:prstGeom>
        <a:solidFill>
          <a:srgbClr val="003980"/>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 . . Familiar Major Methods of Procurement</a:t>
          </a:r>
        </a:p>
      </dsp:txBody>
      <dsp:txXfrm>
        <a:off x="0" y="0"/>
        <a:ext cx="9144000" cy="2057400"/>
      </dsp:txXfrm>
    </dsp:sp>
    <dsp:sp modelId="{F40879A2-28E3-4C28-99D7-5A75FC5ACB94}">
      <dsp:nvSpPr>
        <dsp:cNvPr id="0" name=""/>
        <dsp:cNvSpPr/>
      </dsp:nvSpPr>
      <dsp:spPr>
        <a:xfrm>
          <a:off x="272" y="2057400"/>
          <a:ext cx="2207865" cy="4320540"/>
        </a:xfrm>
        <a:prstGeom prst="rect">
          <a:avLst/>
        </a:prstGeom>
        <a:solidFill>
          <a:srgbClr val="003B81"/>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Open Procedure (less than 3%)</a:t>
          </a:r>
        </a:p>
      </dsp:txBody>
      <dsp:txXfrm>
        <a:off x="272" y="2057400"/>
        <a:ext cx="2207865" cy="4320540"/>
      </dsp:txXfrm>
    </dsp:sp>
    <dsp:sp modelId="{1076BC11-668B-403F-8B4D-656BCC5ECE4D}">
      <dsp:nvSpPr>
        <dsp:cNvPr id="0" name=""/>
        <dsp:cNvSpPr/>
      </dsp:nvSpPr>
      <dsp:spPr>
        <a:xfrm>
          <a:off x="2208138" y="2057400"/>
          <a:ext cx="2207865" cy="4320540"/>
        </a:xfrm>
        <a:prstGeom prst="rect">
          <a:avLst/>
        </a:prstGeom>
        <a:solidFill>
          <a:srgbClr val="7030A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Restricted Procedure</a:t>
          </a:r>
        </a:p>
      </dsp:txBody>
      <dsp:txXfrm>
        <a:off x="2208138" y="2057400"/>
        <a:ext cx="2207865" cy="4320540"/>
      </dsp:txXfrm>
    </dsp:sp>
    <dsp:sp modelId="{7C73FAC5-BB55-4A5B-B235-8B783871E452}">
      <dsp:nvSpPr>
        <dsp:cNvPr id="0" name=""/>
        <dsp:cNvSpPr/>
      </dsp:nvSpPr>
      <dsp:spPr>
        <a:xfrm>
          <a:off x="4380986" y="2019811"/>
          <a:ext cx="2323402" cy="4366251"/>
        </a:xfrm>
        <a:prstGeom prst="rect">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Negotiated Procedure (primary method)</a:t>
          </a:r>
        </a:p>
      </dsp:txBody>
      <dsp:txXfrm>
        <a:off x="4380986" y="2019811"/>
        <a:ext cx="2323402" cy="4366251"/>
      </dsp:txXfrm>
    </dsp:sp>
    <dsp:sp modelId="{D792A869-4778-4F2B-AB01-58DB00DA1F0C}">
      <dsp:nvSpPr>
        <dsp:cNvPr id="0" name=""/>
        <dsp:cNvSpPr/>
      </dsp:nvSpPr>
      <dsp:spPr>
        <a:xfrm>
          <a:off x="6739406" y="2057400"/>
          <a:ext cx="2404321" cy="4320540"/>
        </a:xfrm>
        <a:prstGeom prst="rect">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Sole-Source</a:t>
          </a:r>
        </a:p>
      </dsp:txBody>
      <dsp:txXfrm>
        <a:off x="6739406" y="2057400"/>
        <a:ext cx="2404321" cy="4320540"/>
      </dsp:txXfrm>
    </dsp:sp>
    <dsp:sp modelId="{D2936899-753C-46F3-8C28-61EBE14A1628}">
      <dsp:nvSpPr>
        <dsp:cNvPr id="0" name=""/>
        <dsp:cNvSpPr/>
      </dsp:nvSpPr>
      <dsp:spPr>
        <a:xfrm flipV="1">
          <a:off x="0" y="6377940"/>
          <a:ext cx="9144000" cy="480060"/>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BECC8-B7BF-47D5-AA14-5F106E6CAA71}">
      <dsp:nvSpPr>
        <dsp:cNvPr id="0" name=""/>
        <dsp:cNvSpPr/>
      </dsp:nvSpPr>
      <dsp:spPr>
        <a:xfrm>
          <a:off x="0" y="4384550"/>
          <a:ext cx="8229600" cy="1252120"/>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Award</a:t>
          </a:r>
        </a:p>
      </dsp:txBody>
      <dsp:txXfrm>
        <a:off x="0" y="4384550"/>
        <a:ext cx="2468880" cy="1252120"/>
      </dsp:txXfrm>
    </dsp:sp>
    <dsp:sp modelId="{A0EEEDB7-83FB-481B-9FA7-11D3C718D7CB}">
      <dsp:nvSpPr>
        <dsp:cNvPr id="0" name=""/>
        <dsp:cNvSpPr/>
      </dsp:nvSpPr>
      <dsp:spPr>
        <a:xfrm>
          <a:off x="0" y="2923743"/>
          <a:ext cx="8229600" cy="1252120"/>
        </a:xfrm>
        <a:prstGeom prst="roundRect">
          <a:avLst>
            <a:gd name="adj" fmla="val 10000"/>
          </a:avLst>
        </a:prstGeom>
        <a:solidFill>
          <a:schemeClr val="tx2">
            <a:lumMod val="1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solidFill>
                <a:schemeClr val="tx1"/>
              </a:solidFill>
            </a:rPr>
            <a:t>Exchanges</a:t>
          </a:r>
        </a:p>
      </dsp:txBody>
      <dsp:txXfrm>
        <a:off x="0" y="2923743"/>
        <a:ext cx="2468880" cy="1252120"/>
      </dsp:txXfrm>
    </dsp:sp>
    <dsp:sp modelId="{303F70A9-2B23-4F03-8A43-14BC345F85F4}">
      <dsp:nvSpPr>
        <dsp:cNvPr id="0" name=""/>
        <dsp:cNvSpPr/>
      </dsp:nvSpPr>
      <dsp:spPr>
        <a:xfrm>
          <a:off x="0" y="1462935"/>
          <a:ext cx="8229600" cy="1252120"/>
        </a:xfrm>
        <a:prstGeom prst="roundRect">
          <a:avLst>
            <a:gd name="adj" fmla="val 10000"/>
          </a:avLst>
        </a:prstGeom>
        <a:solidFill>
          <a:schemeClr val="bg2">
            <a:lumMod val="90000"/>
            <a:lumOff val="1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solidFill>
                <a:schemeClr val="tx1"/>
              </a:solidFill>
            </a:rPr>
            <a:t>Submissions</a:t>
          </a:r>
        </a:p>
      </dsp:txBody>
      <dsp:txXfrm>
        <a:off x="0" y="1462935"/>
        <a:ext cx="2468880" cy="1252120"/>
      </dsp:txXfrm>
    </dsp:sp>
    <dsp:sp modelId="{B31F27A6-F4C8-40B1-A169-AEA5C5580F4D}">
      <dsp:nvSpPr>
        <dsp:cNvPr id="0" name=""/>
        <dsp:cNvSpPr/>
      </dsp:nvSpPr>
      <dsp:spPr>
        <a:xfrm>
          <a:off x="0" y="2128"/>
          <a:ext cx="8229600" cy="1252120"/>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Announcement</a:t>
          </a:r>
        </a:p>
      </dsp:txBody>
      <dsp:txXfrm>
        <a:off x="0" y="2128"/>
        <a:ext cx="2468880" cy="1252120"/>
      </dsp:txXfrm>
    </dsp:sp>
    <dsp:sp modelId="{24AFDD48-AD82-44AC-B1C8-DAA464289C4B}">
      <dsp:nvSpPr>
        <dsp:cNvPr id="0" name=""/>
        <dsp:cNvSpPr/>
      </dsp:nvSpPr>
      <dsp:spPr>
        <a:xfrm>
          <a:off x="5031971" y="106471"/>
          <a:ext cx="1565150" cy="10434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Request for Proposals</a:t>
          </a:r>
        </a:p>
      </dsp:txBody>
      <dsp:txXfrm>
        <a:off x="5062532" y="137032"/>
        <a:ext cx="1504028" cy="982311"/>
      </dsp:txXfrm>
    </dsp:sp>
    <dsp:sp modelId="{0F922240-AA8E-49CD-836A-3F97042A59C8}">
      <dsp:nvSpPr>
        <dsp:cNvPr id="0" name=""/>
        <dsp:cNvSpPr/>
      </dsp:nvSpPr>
      <dsp:spPr>
        <a:xfrm>
          <a:off x="4427948" y="1149905"/>
          <a:ext cx="1386598" cy="415693"/>
        </a:xfrm>
        <a:custGeom>
          <a:avLst/>
          <a:gdLst/>
          <a:ahLst/>
          <a:cxnLst/>
          <a:rect l="0" t="0" r="0" b="0"/>
          <a:pathLst>
            <a:path>
              <a:moveTo>
                <a:pt x="1386598" y="0"/>
              </a:moveTo>
              <a:lnTo>
                <a:pt x="1386598" y="207846"/>
              </a:lnTo>
              <a:lnTo>
                <a:pt x="0" y="207846"/>
              </a:lnTo>
              <a:lnTo>
                <a:pt x="0" y="415693"/>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14B6532-3079-4B05-938F-6DA9D79BF331}">
      <dsp:nvSpPr>
        <dsp:cNvPr id="0" name=""/>
        <dsp:cNvSpPr/>
      </dsp:nvSpPr>
      <dsp:spPr>
        <a:xfrm>
          <a:off x="3645373" y="1565599"/>
          <a:ext cx="1565150" cy="1043433"/>
        </a:xfrm>
        <a:prstGeom prst="roundRect">
          <a:avLst>
            <a:gd name="adj" fmla="val 10000"/>
          </a:avLst>
        </a:prstGeom>
        <a:solidFill>
          <a:srgbClr val="0066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mpetitive</a:t>
          </a:r>
        </a:p>
      </dsp:txBody>
      <dsp:txXfrm>
        <a:off x="3675934" y="1596160"/>
        <a:ext cx="1504028" cy="982311"/>
      </dsp:txXfrm>
    </dsp:sp>
    <dsp:sp modelId="{2DD24E80-FCF3-4DF0-94FC-E89830CC51BF}">
      <dsp:nvSpPr>
        <dsp:cNvPr id="0" name=""/>
        <dsp:cNvSpPr/>
      </dsp:nvSpPr>
      <dsp:spPr>
        <a:xfrm>
          <a:off x="3768190" y="2609033"/>
          <a:ext cx="659758" cy="374123"/>
        </a:xfrm>
        <a:custGeom>
          <a:avLst/>
          <a:gdLst/>
          <a:ahLst/>
          <a:cxnLst/>
          <a:rect l="0" t="0" r="0" b="0"/>
          <a:pathLst>
            <a:path>
              <a:moveTo>
                <a:pt x="659758" y="0"/>
              </a:moveTo>
              <a:lnTo>
                <a:pt x="659758" y="187061"/>
              </a:lnTo>
              <a:lnTo>
                <a:pt x="0" y="187061"/>
              </a:lnTo>
              <a:lnTo>
                <a:pt x="0" y="374123"/>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B03B7A-EB7D-4118-944D-BCB335F85C37}">
      <dsp:nvSpPr>
        <dsp:cNvPr id="0" name=""/>
        <dsp:cNvSpPr/>
      </dsp:nvSpPr>
      <dsp:spPr>
        <a:xfrm>
          <a:off x="2907756" y="2983156"/>
          <a:ext cx="1720867" cy="1037528"/>
        </a:xfrm>
        <a:prstGeom prst="roundRect">
          <a:avLst>
            <a:gd name="adj" fmla="val 10000"/>
          </a:avLst>
        </a:prstGeom>
        <a:solidFill>
          <a:srgbClr val="0066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err="1"/>
            <a:t>Offeror</a:t>
          </a:r>
          <a:r>
            <a:rPr lang="en-US" sz="2300" kern="1200" dirty="0"/>
            <a:t> 1</a:t>
          </a:r>
        </a:p>
      </dsp:txBody>
      <dsp:txXfrm>
        <a:off x="2938144" y="3013544"/>
        <a:ext cx="1660091" cy="976752"/>
      </dsp:txXfrm>
    </dsp:sp>
    <dsp:sp modelId="{BDDE437B-2574-4436-9622-445D381637AA}">
      <dsp:nvSpPr>
        <dsp:cNvPr id="0" name=""/>
        <dsp:cNvSpPr/>
      </dsp:nvSpPr>
      <dsp:spPr>
        <a:xfrm>
          <a:off x="3722470" y="4020684"/>
          <a:ext cx="91440" cy="462303"/>
        </a:xfrm>
        <a:custGeom>
          <a:avLst/>
          <a:gdLst/>
          <a:ahLst/>
          <a:cxnLst/>
          <a:rect l="0" t="0" r="0" b="0"/>
          <a:pathLst>
            <a:path>
              <a:moveTo>
                <a:pt x="45720" y="0"/>
              </a:moveTo>
              <a:lnTo>
                <a:pt x="45720" y="231151"/>
              </a:lnTo>
              <a:lnTo>
                <a:pt x="57380" y="231151"/>
              </a:lnTo>
              <a:lnTo>
                <a:pt x="57380" y="462303"/>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675E7DB-75A1-4E73-B89A-B39FD133694C}">
      <dsp:nvSpPr>
        <dsp:cNvPr id="0" name=""/>
        <dsp:cNvSpPr/>
      </dsp:nvSpPr>
      <dsp:spPr>
        <a:xfrm>
          <a:off x="2997275" y="4482988"/>
          <a:ext cx="1565150" cy="1043433"/>
        </a:xfrm>
        <a:prstGeom prst="roundRect">
          <a:avLst>
            <a:gd name="adj" fmla="val 10000"/>
          </a:avLst>
        </a:prstGeom>
        <a:solidFill>
          <a:srgbClr val="00FF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err="1"/>
            <a:t>Awardee</a:t>
          </a:r>
          <a:endParaRPr lang="en-US" sz="2300" b="1" kern="1200" dirty="0"/>
        </a:p>
      </dsp:txBody>
      <dsp:txXfrm>
        <a:off x="3027836" y="4513549"/>
        <a:ext cx="1504028" cy="982311"/>
      </dsp:txXfrm>
    </dsp:sp>
    <dsp:sp modelId="{0481EBAF-8FC2-4504-A12E-2EBEF60CA86E}">
      <dsp:nvSpPr>
        <dsp:cNvPr id="0" name=""/>
        <dsp:cNvSpPr/>
      </dsp:nvSpPr>
      <dsp:spPr>
        <a:xfrm>
          <a:off x="4427948" y="2609033"/>
          <a:ext cx="1309287" cy="374123"/>
        </a:xfrm>
        <a:custGeom>
          <a:avLst/>
          <a:gdLst/>
          <a:ahLst/>
          <a:cxnLst/>
          <a:rect l="0" t="0" r="0" b="0"/>
          <a:pathLst>
            <a:path>
              <a:moveTo>
                <a:pt x="0" y="0"/>
              </a:moveTo>
              <a:lnTo>
                <a:pt x="0" y="187061"/>
              </a:lnTo>
              <a:lnTo>
                <a:pt x="1309287" y="187061"/>
              </a:lnTo>
              <a:lnTo>
                <a:pt x="1309287" y="374123"/>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0B87D6-8B0E-4124-8D42-439208D13FA6}">
      <dsp:nvSpPr>
        <dsp:cNvPr id="0" name=""/>
        <dsp:cNvSpPr/>
      </dsp:nvSpPr>
      <dsp:spPr>
        <a:xfrm>
          <a:off x="4954661" y="2983156"/>
          <a:ext cx="1565150" cy="1043433"/>
        </a:xfrm>
        <a:prstGeom prst="roundRect">
          <a:avLst>
            <a:gd name="adj" fmla="val 10000"/>
          </a:avLst>
        </a:prstGeom>
        <a:solidFill>
          <a:srgbClr val="0066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err="1"/>
            <a:t>Offeror</a:t>
          </a:r>
          <a:r>
            <a:rPr lang="en-US" sz="2300" kern="1200" dirty="0"/>
            <a:t> 2</a:t>
          </a:r>
        </a:p>
      </dsp:txBody>
      <dsp:txXfrm>
        <a:off x="4985222" y="3013717"/>
        <a:ext cx="1504028" cy="982311"/>
      </dsp:txXfrm>
    </dsp:sp>
    <dsp:sp modelId="{7B5A69F3-9001-4836-91E3-F0301FAC7D97}">
      <dsp:nvSpPr>
        <dsp:cNvPr id="0" name=""/>
        <dsp:cNvSpPr/>
      </dsp:nvSpPr>
      <dsp:spPr>
        <a:xfrm>
          <a:off x="5814547" y="1149905"/>
          <a:ext cx="953834" cy="415693"/>
        </a:xfrm>
        <a:custGeom>
          <a:avLst/>
          <a:gdLst/>
          <a:ahLst/>
          <a:cxnLst/>
          <a:rect l="0" t="0" r="0" b="0"/>
          <a:pathLst>
            <a:path>
              <a:moveTo>
                <a:pt x="0" y="0"/>
              </a:moveTo>
              <a:lnTo>
                <a:pt x="0" y="207846"/>
              </a:lnTo>
              <a:lnTo>
                <a:pt x="953834" y="207846"/>
              </a:lnTo>
              <a:lnTo>
                <a:pt x="953834" y="415693"/>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5BEE6D-DB83-4FB7-9AA0-B0F1F7BFDB53}">
      <dsp:nvSpPr>
        <dsp:cNvPr id="0" name=""/>
        <dsp:cNvSpPr/>
      </dsp:nvSpPr>
      <dsp:spPr>
        <a:xfrm>
          <a:off x="5985806" y="1565599"/>
          <a:ext cx="1565150" cy="1043433"/>
        </a:xfrm>
        <a:prstGeom prst="roundRect">
          <a:avLst>
            <a:gd name="adj" fmla="val 10000"/>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Non-Competitive</a:t>
          </a:r>
        </a:p>
      </dsp:txBody>
      <dsp:txXfrm>
        <a:off x="6016367" y="1596160"/>
        <a:ext cx="1504028" cy="98231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001683-A89F-43DC-A13C-AC909F2BDB88}">
      <dsp:nvSpPr>
        <dsp:cNvPr id="0" name=""/>
        <dsp:cNvSpPr/>
      </dsp:nvSpPr>
      <dsp:spPr>
        <a:xfrm>
          <a:off x="1979723" y="324716"/>
          <a:ext cx="4484846" cy="1557528"/>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ED97E4-7925-45BF-9B62-5F128BF439BF}">
      <dsp:nvSpPr>
        <dsp:cNvPr id="0" name=""/>
        <dsp:cNvSpPr/>
      </dsp:nvSpPr>
      <dsp:spPr>
        <a:xfrm>
          <a:off x="3794521" y="4138573"/>
          <a:ext cx="869156" cy="556260"/>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07D733-EB03-4EBB-AD54-3363F0327A3D}">
      <dsp:nvSpPr>
        <dsp:cNvPr id="0" name=""/>
        <dsp:cNvSpPr/>
      </dsp:nvSpPr>
      <dsp:spPr>
        <a:xfrm>
          <a:off x="432625" y="4880228"/>
          <a:ext cx="7592949" cy="449694"/>
        </a:xfrm>
        <a:prstGeom prst="rect">
          <a:avLst/>
        </a:prstGeom>
        <a:solidFill>
          <a:srgbClr val="C00000"/>
        </a:solid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rPr>
            <a:t>Reduced Transparency – Reduced Accountability -- Misuse of Frameworks</a:t>
          </a:r>
        </a:p>
      </dsp:txBody>
      <dsp:txXfrm>
        <a:off x="432625" y="4880228"/>
        <a:ext cx="7592949" cy="449694"/>
      </dsp:txXfrm>
    </dsp:sp>
    <dsp:sp modelId="{69951546-8EFB-4281-837C-34189C1F893D}">
      <dsp:nvSpPr>
        <dsp:cNvPr id="0" name=""/>
        <dsp:cNvSpPr/>
      </dsp:nvSpPr>
      <dsp:spPr>
        <a:xfrm>
          <a:off x="3610260" y="2002535"/>
          <a:ext cx="1564481" cy="1564481"/>
        </a:xfrm>
        <a:prstGeom prst="ellipse">
          <a:avLst/>
        </a:prstGeom>
        <a:solidFill>
          <a:schemeClr val="accent6">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ustomer Agencies</a:t>
          </a:r>
        </a:p>
      </dsp:txBody>
      <dsp:txXfrm>
        <a:off x="3839373" y="2231648"/>
        <a:ext cx="1106255" cy="1106255"/>
      </dsp:txXfrm>
    </dsp:sp>
    <dsp:sp modelId="{935043D7-1713-4B5C-8AA3-27420DBBF20A}">
      <dsp:nvSpPr>
        <dsp:cNvPr id="0" name=""/>
        <dsp:cNvSpPr/>
      </dsp:nvSpPr>
      <dsp:spPr>
        <a:xfrm>
          <a:off x="2490787" y="828826"/>
          <a:ext cx="1564481" cy="1564481"/>
        </a:xfrm>
        <a:prstGeom prst="ellipse">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entralized Purchasing Agencies</a:t>
          </a:r>
        </a:p>
      </dsp:txBody>
      <dsp:txXfrm>
        <a:off x="2719900" y="1057939"/>
        <a:ext cx="1106255" cy="1106255"/>
      </dsp:txXfrm>
    </dsp:sp>
    <dsp:sp modelId="{EBDA8B7A-7FE4-48B6-8A78-2CDD6FD7FC6E}">
      <dsp:nvSpPr>
        <dsp:cNvPr id="0" name=""/>
        <dsp:cNvSpPr/>
      </dsp:nvSpPr>
      <dsp:spPr>
        <a:xfrm>
          <a:off x="4090035" y="450569"/>
          <a:ext cx="1564481" cy="1564481"/>
        </a:xfrm>
        <a:prstGeom prst="ellipse">
          <a:avLst/>
        </a:prstGeom>
        <a:solidFill>
          <a:srgbClr val="00206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ontractors</a:t>
          </a:r>
        </a:p>
      </dsp:txBody>
      <dsp:txXfrm>
        <a:off x="4319148" y="679682"/>
        <a:ext cx="1106255" cy="1106255"/>
      </dsp:txXfrm>
    </dsp:sp>
    <dsp:sp modelId="{9682A309-E72F-4D8F-A955-8F38511DCFC7}">
      <dsp:nvSpPr>
        <dsp:cNvPr id="0" name=""/>
        <dsp:cNvSpPr/>
      </dsp:nvSpPr>
      <dsp:spPr>
        <a:xfrm>
          <a:off x="609599" y="232677"/>
          <a:ext cx="7239000" cy="369546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DAE763-FE04-4009-A72F-2385A38C2A13}">
      <dsp:nvSpPr>
        <dsp:cNvPr id="0" name=""/>
        <dsp:cNvSpPr/>
      </dsp:nvSpPr>
      <dsp:spPr>
        <a:xfrm>
          <a:off x="874763" y="0"/>
          <a:ext cx="2662698" cy="147927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ubcontract</a:t>
          </a:r>
        </a:p>
      </dsp:txBody>
      <dsp:txXfrm>
        <a:off x="918090" y="43327"/>
        <a:ext cx="2576044" cy="1392622"/>
      </dsp:txXfrm>
    </dsp:sp>
    <dsp:sp modelId="{2B684433-2334-474E-BEFE-2D28AC96A581}">
      <dsp:nvSpPr>
        <dsp:cNvPr id="0" name=""/>
        <dsp:cNvSpPr/>
      </dsp:nvSpPr>
      <dsp:spPr>
        <a:xfrm rot="5400000">
          <a:off x="1928748" y="1516258"/>
          <a:ext cx="554728" cy="66567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5400000">
        <a:off x="2006410" y="1571731"/>
        <a:ext cx="399404" cy="388310"/>
      </dsp:txXfrm>
    </dsp:sp>
    <dsp:sp modelId="{1CADC212-172F-49A4-80B6-D63B02D5128E}">
      <dsp:nvSpPr>
        <dsp:cNvPr id="0" name=""/>
        <dsp:cNvSpPr/>
      </dsp:nvSpPr>
      <dsp:spPr>
        <a:xfrm>
          <a:off x="874763" y="2218915"/>
          <a:ext cx="2662698" cy="147927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Framework (Indefinite Delivery-Indefinite Quantity)</a:t>
          </a:r>
        </a:p>
      </dsp:txBody>
      <dsp:txXfrm>
        <a:off x="918090" y="2262242"/>
        <a:ext cx="2576044" cy="1392622"/>
      </dsp:txXfrm>
    </dsp:sp>
    <dsp:sp modelId="{891494BE-AFB7-43F8-99A4-1FF8A7B34963}">
      <dsp:nvSpPr>
        <dsp:cNvPr id="0" name=""/>
        <dsp:cNvSpPr/>
      </dsp:nvSpPr>
      <dsp:spPr>
        <a:xfrm rot="5400000">
          <a:off x="1928748" y="3735174"/>
          <a:ext cx="554728" cy="665674"/>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5400000">
        <a:off x="2006410" y="3790647"/>
        <a:ext cx="399404" cy="388310"/>
      </dsp:txXfrm>
    </dsp:sp>
    <dsp:sp modelId="{A02E207A-C4C7-41E3-B15A-03553DC3BC0C}">
      <dsp:nvSpPr>
        <dsp:cNvPr id="0" name=""/>
        <dsp:cNvSpPr/>
      </dsp:nvSpPr>
      <dsp:spPr>
        <a:xfrm>
          <a:off x="874763" y="4437830"/>
          <a:ext cx="2662698" cy="147927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Prime Contract</a:t>
          </a:r>
        </a:p>
      </dsp:txBody>
      <dsp:txXfrm>
        <a:off x="918090" y="4481157"/>
        <a:ext cx="2576044" cy="13926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A27D07-497B-44C2-A216-DA6F28728B52}">
      <dsp:nvSpPr>
        <dsp:cNvPr id="0" name=""/>
        <dsp:cNvSpPr/>
      </dsp:nvSpPr>
      <dsp:spPr>
        <a:xfrm>
          <a:off x="1429135" y="552835"/>
          <a:ext cx="3694929" cy="3694929"/>
        </a:xfrm>
        <a:prstGeom prst="blockArc">
          <a:avLst>
            <a:gd name="adj1" fmla="val 1080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4E14E37-9268-470F-A76B-8F7C8DA51ED1}">
      <dsp:nvSpPr>
        <dsp:cNvPr id="0" name=""/>
        <dsp:cNvSpPr/>
      </dsp:nvSpPr>
      <dsp:spPr>
        <a:xfrm>
          <a:off x="1429135" y="552835"/>
          <a:ext cx="3694929" cy="3694929"/>
        </a:xfrm>
        <a:prstGeom prst="blockArc">
          <a:avLst>
            <a:gd name="adj1" fmla="val 5400000"/>
            <a:gd name="adj2" fmla="val 108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FEB74D-FE58-40D8-B700-95FC6EC13FD8}">
      <dsp:nvSpPr>
        <dsp:cNvPr id="0" name=""/>
        <dsp:cNvSpPr/>
      </dsp:nvSpPr>
      <dsp:spPr>
        <a:xfrm>
          <a:off x="1429135" y="552835"/>
          <a:ext cx="3694929" cy="3694929"/>
        </a:xfrm>
        <a:prstGeom prst="blockArc">
          <a:avLst>
            <a:gd name="adj1" fmla="val 0"/>
            <a:gd name="adj2" fmla="val 54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1EDE5C-D668-4F34-8921-C8E94220C6F3}">
      <dsp:nvSpPr>
        <dsp:cNvPr id="0" name=""/>
        <dsp:cNvSpPr/>
      </dsp:nvSpPr>
      <dsp:spPr>
        <a:xfrm>
          <a:off x="1429135" y="552835"/>
          <a:ext cx="3694929" cy="3694929"/>
        </a:xfrm>
        <a:prstGeom prst="blockArc">
          <a:avLst>
            <a:gd name="adj1" fmla="val 16200000"/>
            <a:gd name="adj2" fmla="val 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4FF8A8F-3944-4533-9F3A-6046A2126DB8}">
      <dsp:nvSpPr>
        <dsp:cNvPr id="0" name=""/>
        <dsp:cNvSpPr/>
      </dsp:nvSpPr>
      <dsp:spPr>
        <a:xfrm>
          <a:off x="2426474" y="1635281"/>
          <a:ext cx="1699096" cy="169909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GPA &amp; </a:t>
          </a:r>
        </a:p>
        <a:p>
          <a:pPr marL="0" lvl="0" indent="0" algn="ctr" defTabSz="800100">
            <a:lnSpc>
              <a:spcPct val="90000"/>
            </a:lnSpc>
            <a:spcBef>
              <a:spcPct val="0"/>
            </a:spcBef>
            <a:spcAft>
              <a:spcPct val="35000"/>
            </a:spcAft>
            <a:buNone/>
          </a:pPr>
          <a:r>
            <a:rPr lang="en-US" sz="1800" kern="1200" dirty="0"/>
            <a:t>Free Trade Agreements</a:t>
          </a:r>
        </a:p>
      </dsp:txBody>
      <dsp:txXfrm>
        <a:off x="2675301" y="1884108"/>
        <a:ext cx="1201442" cy="1201442"/>
      </dsp:txXfrm>
    </dsp:sp>
    <dsp:sp modelId="{C5B0AB0C-A6A2-489B-B6CA-391787CD3A0B}">
      <dsp:nvSpPr>
        <dsp:cNvPr id="0" name=""/>
        <dsp:cNvSpPr/>
      </dsp:nvSpPr>
      <dsp:spPr>
        <a:xfrm>
          <a:off x="2681916" y="968"/>
          <a:ext cx="1189367" cy="1189367"/>
        </a:xfrm>
        <a:prstGeom prst="ellipse">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2"/>
              </a:solidFill>
            </a:rPr>
            <a:t>Europe</a:t>
          </a:r>
        </a:p>
      </dsp:txBody>
      <dsp:txXfrm>
        <a:off x="2856095" y="175147"/>
        <a:ext cx="841009" cy="841009"/>
      </dsp:txXfrm>
    </dsp:sp>
    <dsp:sp modelId="{E38B76FB-30E4-4852-831F-0E72C07200F6}">
      <dsp:nvSpPr>
        <dsp:cNvPr id="0" name=""/>
        <dsp:cNvSpPr/>
      </dsp:nvSpPr>
      <dsp:spPr>
        <a:xfrm>
          <a:off x="4486563" y="1805616"/>
          <a:ext cx="1189367" cy="1189367"/>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USA</a:t>
          </a:r>
        </a:p>
      </dsp:txBody>
      <dsp:txXfrm>
        <a:off x="4660742" y="1979795"/>
        <a:ext cx="841009" cy="841009"/>
      </dsp:txXfrm>
    </dsp:sp>
    <dsp:sp modelId="{598F6BB1-EA97-4C3E-9711-4824FE8AF5F9}">
      <dsp:nvSpPr>
        <dsp:cNvPr id="0" name=""/>
        <dsp:cNvSpPr/>
      </dsp:nvSpPr>
      <dsp:spPr>
        <a:xfrm>
          <a:off x="2681916" y="3610263"/>
          <a:ext cx="1189367" cy="118936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ome Asian Nations</a:t>
          </a:r>
        </a:p>
      </dsp:txBody>
      <dsp:txXfrm>
        <a:off x="2856095" y="3784442"/>
        <a:ext cx="841009" cy="841009"/>
      </dsp:txXfrm>
    </dsp:sp>
    <dsp:sp modelId="{21EF963C-748D-45BE-ABC0-8AA8977E6AA5}">
      <dsp:nvSpPr>
        <dsp:cNvPr id="0" name=""/>
        <dsp:cNvSpPr/>
      </dsp:nvSpPr>
      <dsp:spPr>
        <a:xfrm>
          <a:off x="877268" y="1805616"/>
          <a:ext cx="1189367" cy="118936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ome Latin American Nations</a:t>
          </a:r>
        </a:p>
      </dsp:txBody>
      <dsp:txXfrm>
        <a:off x="1051447" y="1979795"/>
        <a:ext cx="841009" cy="84100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E2F203-842B-4F99-8CE7-EF034D12B50E}">
      <dsp:nvSpPr>
        <dsp:cNvPr id="0" name=""/>
        <dsp:cNvSpPr/>
      </dsp:nvSpPr>
      <dsp:spPr>
        <a:xfrm rot="10800000">
          <a:off x="0" y="0"/>
          <a:ext cx="8229600" cy="1408112"/>
        </a:xfrm>
        <a:prstGeom prst="trapezoid">
          <a:avLst>
            <a:gd name="adj" fmla="val 97407"/>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dirty="0">
              <a:solidFill>
                <a:schemeClr val="bg1"/>
              </a:solidFill>
            </a:rPr>
            <a:t>Trade Agreements Act:  Above $180,000 (approx.)</a:t>
          </a:r>
        </a:p>
      </dsp:txBody>
      <dsp:txXfrm rot="-10800000">
        <a:off x="1440179" y="0"/>
        <a:ext cx="5349240" cy="1408112"/>
      </dsp:txXfrm>
    </dsp:sp>
    <dsp:sp modelId="{F632E650-09C9-4A92-A2A1-9D6776B0C122}">
      <dsp:nvSpPr>
        <dsp:cNvPr id="0" name=""/>
        <dsp:cNvSpPr/>
      </dsp:nvSpPr>
      <dsp:spPr>
        <a:xfrm rot="10800000">
          <a:off x="1371600" y="1408112"/>
          <a:ext cx="5486399" cy="1408112"/>
        </a:xfrm>
        <a:prstGeom prst="trapezoid">
          <a:avLst>
            <a:gd name="adj" fmla="val 97407"/>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dirty="0">
              <a:solidFill>
                <a:schemeClr val="bg1"/>
              </a:solidFill>
            </a:rPr>
            <a:t>Buy American Act</a:t>
          </a:r>
        </a:p>
      </dsp:txBody>
      <dsp:txXfrm rot="-10800000">
        <a:off x="2331720" y="1408112"/>
        <a:ext cx="3566160" cy="1408112"/>
      </dsp:txXfrm>
    </dsp:sp>
    <dsp:sp modelId="{329ECC2E-0B9D-4C4A-B2FB-4A530CE18C0F}">
      <dsp:nvSpPr>
        <dsp:cNvPr id="0" name=""/>
        <dsp:cNvSpPr/>
      </dsp:nvSpPr>
      <dsp:spPr>
        <a:xfrm rot="10800000">
          <a:off x="2743200" y="2816225"/>
          <a:ext cx="2743199" cy="1408112"/>
        </a:xfrm>
        <a:prstGeom prst="trapezoid">
          <a:avLst>
            <a:gd name="adj" fmla="val 97407"/>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Micro-</a:t>
          </a:r>
        </a:p>
        <a:p>
          <a:pPr marL="0" lvl="0" indent="0" algn="ctr" defTabSz="711200">
            <a:lnSpc>
              <a:spcPct val="90000"/>
            </a:lnSpc>
            <a:spcBef>
              <a:spcPct val="0"/>
            </a:spcBef>
            <a:spcAft>
              <a:spcPct val="35000"/>
            </a:spcAft>
            <a:buNone/>
          </a:pPr>
          <a:r>
            <a:rPr lang="en-US" sz="1600" b="1" kern="1200" dirty="0">
              <a:solidFill>
                <a:schemeClr val="tx1"/>
              </a:solidFill>
            </a:rPr>
            <a:t>Purchase</a:t>
          </a:r>
          <a:r>
            <a:rPr lang="en-US" sz="1600" kern="1200" dirty="0">
              <a:solidFill>
                <a:schemeClr val="tx1"/>
              </a:solidFill>
            </a:rPr>
            <a:t>  </a:t>
          </a:r>
        </a:p>
        <a:p>
          <a:pPr marL="0" lvl="0" indent="0" algn="ctr" defTabSz="711200">
            <a:lnSpc>
              <a:spcPct val="90000"/>
            </a:lnSpc>
            <a:spcBef>
              <a:spcPct val="0"/>
            </a:spcBef>
            <a:spcAft>
              <a:spcPct val="35000"/>
            </a:spcAft>
            <a:buNone/>
          </a:pPr>
          <a:r>
            <a:rPr lang="en-US" sz="1600" kern="1200" dirty="0">
              <a:solidFill>
                <a:schemeClr val="bg1"/>
              </a:solidFill>
            </a:rPr>
            <a:t> </a:t>
          </a:r>
        </a:p>
      </dsp:txBody>
      <dsp:txXfrm rot="-10800000">
        <a:off x="2743200" y="2816225"/>
        <a:ext cx="2743199" cy="140811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E70EF9-019B-47C9-917C-3EECFD9C6C58}" type="datetimeFigureOut">
              <a:rPr lang="en-US" smtClean="0"/>
              <a:t>1/30/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5B24F1-5C23-4B76-8BB5-3E53C959BDEF}" type="slidenum">
              <a:rPr lang="en-US" smtClean="0"/>
              <a:t>‹#›</a:t>
            </a:fld>
            <a:endParaRPr lang="en-US"/>
          </a:p>
        </p:txBody>
      </p:sp>
    </p:spTree>
    <p:extLst>
      <p:ext uri="{BB962C8B-B14F-4D97-AF65-F5344CB8AC3E}">
        <p14:creationId xmlns:p14="http://schemas.microsoft.com/office/powerpoint/2010/main" val="7089386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a.next.westlaw.com/Document/I5f3b0b132c6911e388faf3ccafbf39fc/View/FullText.html?originationContext=previousnextsection&amp;contextData=(sc.Document)&amp;transitionType=StatuteNavigator"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a:extLst>
              <a:ext uri="{FF2B5EF4-FFF2-40B4-BE49-F238E27FC236}">
                <a16:creationId xmlns:a16="http://schemas.microsoft.com/office/drawing/2014/main" id="{66B390A9-E2E1-4190-9BAF-3DD1C760B78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a:extLst>
              <a:ext uri="{FF2B5EF4-FFF2-40B4-BE49-F238E27FC236}">
                <a16:creationId xmlns:a16="http://schemas.microsoft.com/office/drawing/2014/main" id="{C777B4E8-9047-4333-AB98-339501FFBAA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1316" name="Slide Number Placeholder 3">
            <a:extLst>
              <a:ext uri="{FF2B5EF4-FFF2-40B4-BE49-F238E27FC236}">
                <a16:creationId xmlns:a16="http://schemas.microsoft.com/office/drawing/2014/main" id="{66286B02-1749-4C7A-B7EE-B00748D254C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F8D028-5A28-4FB9-BB27-961CC9458664}"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685493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9FC3F49D-215B-4514-A4EC-96AEE89DEF3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B1CEEE33-D41F-4D7C-A037-8AD0417A6B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http://www.worldtradelaw.net/misc/Suggested%20Charter.pdf</a:t>
            </a:r>
          </a:p>
        </p:txBody>
      </p:sp>
      <p:sp>
        <p:nvSpPr>
          <p:cNvPr id="93188" name="Slide Number Placeholder 3">
            <a:extLst>
              <a:ext uri="{FF2B5EF4-FFF2-40B4-BE49-F238E27FC236}">
                <a16:creationId xmlns:a16="http://schemas.microsoft.com/office/drawing/2014/main" id="{5409C09B-E775-49A8-BEF4-2EA33FA5236B}"/>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CFFCA2F-CF4F-4BFD-A55C-D3C2F6E58037}"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9D6CD782-A818-4B1D-90C4-8E99EA5B3C0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9F3734C2-916E-4CA4-ADB6-50DA32DFAAC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pPr eaLnBrk="1" hangingPunct="1">
              <a:spcBef>
                <a:spcPct val="0"/>
              </a:spcBef>
            </a:pPr>
            <a:r>
              <a:rPr lang="en-US" altLang="en-US"/>
              <a:t>http://www.worldtradelaw.net/misc/Suggested%20Charter.pdf</a:t>
            </a:r>
          </a:p>
          <a:p>
            <a:pPr eaLnBrk="1" hangingPunct="1">
              <a:spcBef>
                <a:spcPct val="0"/>
              </a:spcBef>
            </a:pPr>
            <a:endParaRPr lang="en-US" altLang="en-US"/>
          </a:p>
          <a:p>
            <a:pPr eaLnBrk="1" hangingPunct="1">
              <a:spcBef>
                <a:spcPct val="0"/>
              </a:spcBef>
            </a:pPr>
            <a:r>
              <a:rPr lang="en-US" altLang="en-US"/>
              <a:t>WTO on non-discrimination (Most Favored Nation) versus national treatment - http://www.wto.org/english/thewto_e/whatis_e/tif_e/fact2_e.htm</a:t>
            </a:r>
          </a:p>
          <a:p>
            <a:pPr eaLnBrk="1" hangingPunct="1">
              <a:spcBef>
                <a:spcPct val="0"/>
              </a:spcBef>
            </a:pPr>
            <a:endParaRPr lang="en-US" altLang="en-US"/>
          </a:p>
          <a:p>
            <a:pPr eaLnBrk="1" hangingPunct="1">
              <a:spcBef>
                <a:spcPct val="0"/>
              </a:spcBef>
            </a:pPr>
            <a:r>
              <a:rPr lang="en-US" altLang="en-US"/>
              <a:t>Textbook, Sec. 2:27:</a:t>
            </a:r>
          </a:p>
          <a:p>
            <a:pPr eaLnBrk="1" hangingPunct="1">
              <a:spcBef>
                <a:spcPct val="0"/>
              </a:spcBef>
            </a:pPr>
            <a:endParaRPr lang="en-US" altLang="en-US"/>
          </a:p>
          <a:p>
            <a:pPr eaLnBrk="1" hangingPunct="1">
              <a:spcBef>
                <a:spcPct val="0"/>
              </a:spcBef>
            </a:pPr>
            <a:r>
              <a:rPr lang="en-US" altLang="en-US"/>
              <a:t>One core provision of the GATT is Article I which makes a general commitment to the long standing practice of “most favored nation treatment” (“MFN”).</a:t>
            </a:r>
            <a:r>
              <a:rPr lang="en-US" altLang="en-US" baseline="30000">
                <a:hlinkClick r:id="rId3"/>
              </a:rPr>
              <a:t>1</a:t>
            </a:r>
            <a:r>
              <a:rPr lang="en-US" altLang="en-US"/>
              <a:t> Article I requires each Contracting Party to accord unconditional MFN status to all other Contracting Parties. Thus, any privilege granted by any Contracting Party to any product imported from any other country must also be “immediately and unconditionally” granted to any “like product” imported from any Contracting Parties.</a:t>
            </a:r>
            <a:r>
              <a:rPr lang="en-US" altLang="en-US" baseline="30000">
                <a:hlinkClick r:id="rId3"/>
              </a:rPr>
              <a:t>2</a:t>
            </a:r>
            <a:endParaRPr lang="en-US" altLang="en-US"/>
          </a:p>
          <a:p>
            <a:pPr eaLnBrk="1" hangingPunct="1">
              <a:spcBef>
                <a:spcPct val="0"/>
              </a:spcBef>
            </a:pPr>
            <a:r>
              <a:rPr lang="en-US" altLang="en-US"/>
              <a:t>Another core provision of GATT is Article III. Article III incorporates the practice of according “national treatment” to imported goods by providing, with specifically enumerated exceptions, that the products of one Contracting State shall be treated in the same manner regarding taxation and regulation as domestic goods. As such, under Article III, products of the exporting GATT Contracting State must be treated no less favorably than domestic products of the importing Contracting State under its laws and regulations concerning sale, internal resale, purchase, transportation and use.</a:t>
            </a:r>
            <a:r>
              <a:rPr lang="en-US" altLang="en-US" baseline="30000">
                <a:hlinkClick r:id="rId3"/>
              </a:rPr>
              <a:t>3</a:t>
            </a:r>
            <a:r>
              <a:rPr lang="en-US" altLang="en-US"/>
              <a:t> In addition to the Articles above, the GATT also prohibits the use of certain kinds of quantitative restrictions. For example, Article XI generally, but not completely, prohibits the use of other “prohibitions or restrictions” on imports from Contracting Parties.</a:t>
            </a:r>
            <a:r>
              <a:rPr lang="en-US" altLang="en-US" baseline="30000">
                <a:hlinkClick r:id="rId3"/>
              </a:rPr>
              <a:t>4</a:t>
            </a:r>
            <a:endParaRPr lang="en-US" altLang="en-US"/>
          </a:p>
          <a:p>
            <a:pPr eaLnBrk="1" hangingPunct="1">
              <a:spcBef>
                <a:spcPct val="0"/>
              </a:spcBef>
            </a:pPr>
            <a:endParaRPr lang="en-US" altLang="en-US"/>
          </a:p>
        </p:txBody>
      </p:sp>
      <p:sp>
        <p:nvSpPr>
          <p:cNvPr id="94212" name="Slide Number Placeholder 3">
            <a:extLst>
              <a:ext uri="{FF2B5EF4-FFF2-40B4-BE49-F238E27FC236}">
                <a16:creationId xmlns:a16="http://schemas.microsoft.com/office/drawing/2014/main" id="{A02BE5D3-B693-4C03-B134-DF2764A5002D}"/>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EA741D3-F5B9-477F-9D75-89ADDD4A13B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B0617FA-69A9-45E6-84A1-05959FDE47D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049199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a:extLst>
              <a:ext uri="{FF2B5EF4-FFF2-40B4-BE49-F238E27FC236}">
                <a16:creationId xmlns:a16="http://schemas.microsoft.com/office/drawing/2014/main" id="{2A231D90-403F-4BF0-8666-3D2CAFB0193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C9DDEF8-0CD9-4BA3-A381-D70062582032}"/>
              </a:ext>
            </a:extLst>
          </p:cNvPr>
          <p:cNvSpPr>
            <a:spLocks noGrp="1"/>
          </p:cNvSpPr>
          <p:nvPr>
            <p:ph type="body" idx="1"/>
          </p:nvPr>
        </p:nvSpPr>
        <p:spPr/>
        <p:txBody>
          <a:bodyPr>
            <a:normAutofit/>
          </a:bodyPr>
          <a:lstStyle/>
          <a:p>
            <a:pPr fontAlgn="auto">
              <a:spcBef>
                <a:spcPts val="0"/>
              </a:spcBef>
              <a:spcAft>
                <a:spcPts val="0"/>
              </a:spcAft>
              <a:defRPr/>
            </a:pPr>
            <a:r>
              <a:rPr lang="en-US" b="1" dirty="0">
                <a:solidFill>
                  <a:schemeClr val="tx2"/>
                </a:solidFill>
                <a:effectLst>
                  <a:outerShdw blurRad="38100" dist="38100" dir="2700000" algn="tl">
                    <a:srgbClr val="000000"/>
                  </a:outerShdw>
                </a:effectLst>
              </a:rPr>
              <a:t>-- Scandals and reform driven by internal government forces, including Congress, GAO and inspectors general</a:t>
            </a:r>
          </a:p>
          <a:p>
            <a:pPr fontAlgn="auto">
              <a:spcBef>
                <a:spcPts val="0"/>
              </a:spcBef>
              <a:spcAft>
                <a:spcPts val="0"/>
              </a:spcAft>
              <a:defRPr/>
            </a:pPr>
            <a:r>
              <a:rPr lang="en-US" b="1" dirty="0">
                <a:solidFill>
                  <a:schemeClr val="tx2"/>
                </a:solidFill>
                <a:effectLst>
                  <a:outerShdw blurRad="38100" dist="38100" dir="2700000" algn="tl">
                    <a:srgbClr val="000000"/>
                  </a:outerShdw>
                </a:effectLst>
              </a:rPr>
              <a:t>-- Punctuated by Abu </a:t>
            </a:r>
            <a:r>
              <a:rPr lang="en-US" b="1" dirty="0" err="1">
                <a:solidFill>
                  <a:schemeClr val="tx2"/>
                </a:solidFill>
                <a:effectLst>
                  <a:outerShdw blurRad="38100" dist="38100" dir="2700000" algn="tl">
                    <a:srgbClr val="000000"/>
                  </a:outerShdw>
                </a:effectLst>
              </a:rPr>
              <a:t>Ghraib</a:t>
            </a:r>
            <a:r>
              <a:rPr lang="en-US" b="1" dirty="0">
                <a:solidFill>
                  <a:schemeClr val="tx2"/>
                </a:solidFill>
                <a:effectLst>
                  <a:outerShdw blurRad="38100" dist="38100" dir="2700000" algn="tl">
                    <a:srgbClr val="000000"/>
                  </a:outerShdw>
                </a:effectLst>
              </a:rPr>
              <a:t> disaster</a:t>
            </a:r>
          </a:p>
          <a:p>
            <a:pPr fontAlgn="auto">
              <a:spcBef>
                <a:spcPts val="0"/>
              </a:spcBef>
              <a:spcAft>
                <a:spcPts val="0"/>
              </a:spcAft>
              <a:defRPr/>
            </a:pPr>
            <a:endParaRPr lang="en-US" dirty="0"/>
          </a:p>
        </p:txBody>
      </p:sp>
      <p:sp>
        <p:nvSpPr>
          <p:cNvPr id="148484" name="Slide Number Placeholder 3">
            <a:extLst>
              <a:ext uri="{FF2B5EF4-FFF2-40B4-BE49-F238E27FC236}">
                <a16:creationId xmlns:a16="http://schemas.microsoft.com/office/drawing/2014/main" id="{192D1FB3-F458-4D71-B07C-46F0EAF52E4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9D627E9-0BC9-4641-AB24-8CAD46EA5358}"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a:extLst>
              <a:ext uri="{FF2B5EF4-FFF2-40B4-BE49-F238E27FC236}">
                <a16:creationId xmlns:a16="http://schemas.microsoft.com/office/drawing/2014/main" id="{C210BCCA-3CD1-4E17-8F71-6190EDDB91D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a:extLst>
              <a:ext uri="{FF2B5EF4-FFF2-40B4-BE49-F238E27FC236}">
                <a16:creationId xmlns:a16="http://schemas.microsoft.com/office/drawing/2014/main" id="{1650EC1A-28B6-4995-85D3-7A070833612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9508" name="Slide Number Placeholder 3">
            <a:extLst>
              <a:ext uri="{FF2B5EF4-FFF2-40B4-BE49-F238E27FC236}">
                <a16:creationId xmlns:a16="http://schemas.microsoft.com/office/drawing/2014/main" id="{C4FDB21B-F08B-49E8-8F90-F904039D585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6B6A6CC-4638-467E-BF5D-0A54DA4ABCF8}"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a:extLst>
              <a:ext uri="{FF2B5EF4-FFF2-40B4-BE49-F238E27FC236}">
                <a16:creationId xmlns:a16="http://schemas.microsoft.com/office/drawing/2014/main" id="{D7D7C2A8-00E0-4372-8EE4-A0D86586930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Notes Placeholder 2">
            <a:extLst>
              <a:ext uri="{FF2B5EF4-FFF2-40B4-BE49-F238E27FC236}">
                <a16:creationId xmlns:a16="http://schemas.microsoft.com/office/drawing/2014/main" id="{CCAA67E7-1FA8-4F5E-B6CB-ECFE29EA0BA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Source:  Abby Semple</a:t>
            </a:r>
          </a:p>
        </p:txBody>
      </p:sp>
      <p:sp>
        <p:nvSpPr>
          <p:cNvPr id="150532" name="Slide Number Placeholder 3">
            <a:extLst>
              <a:ext uri="{FF2B5EF4-FFF2-40B4-BE49-F238E27FC236}">
                <a16:creationId xmlns:a16="http://schemas.microsoft.com/office/drawing/2014/main" id="{4FBE68FC-26C4-4302-8EA4-6E2AF337ADD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409C9C9-AFF7-437F-B45A-03AA36EBBE26}"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a:extLst>
              <a:ext uri="{FF2B5EF4-FFF2-40B4-BE49-F238E27FC236}">
                <a16:creationId xmlns:a16="http://schemas.microsoft.com/office/drawing/2014/main" id="{BF9509B7-FC89-439A-B58C-7CC39F40DE2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5" name="Notes Placeholder 2">
            <a:extLst>
              <a:ext uri="{FF2B5EF4-FFF2-40B4-BE49-F238E27FC236}">
                <a16:creationId xmlns:a16="http://schemas.microsoft.com/office/drawing/2014/main" id="{867C572E-DCD2-41C9-B15C-FB79E577BF6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BGOV Data – FY2018</a:t>
            </a:r>
          </a:p>
        </p:txBody>
      </p:sp>
      <p:sp>
        <p:nvSpPr>
          <p:cNvPr id="151556" name="Slide Number Placeholder 3">
            <a:extLst>
              <a:ext uri="{FF2B5EF4-FFF2-40B4-BE49-F238E27FC236}">
                <a16:creationId xmlns:a16="http://schemas.microsoft.com/office/drawing/2014/main" id="{4D3B0E38-0515-4054-A1DE-F80B0819849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6781E9B-2E69-4635-A70C-845D139530DD}"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a:extLst>
              <a:ext uri="{FF2B5EF4-FFF2-40B4-BE49-F238E27FC236}">
                <a16:creationId xmlns:a16="http://schemas.microsoft.com/office/drawing/2014/main" id="{8DDBC3DC-7B57-4B30-8E68-B965B617D31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03" name="Notes Placeholder 2">
            <a:extLst>
              <a:ext uri="{FF2B5EF4-FFF2-40B4-BE49-F238E27FC236}">
                <a16:creationId xmlns:a16="http://schemas.microsoft.com/office/drawing/2014/main" id="{788B7128-8F5A-4F4B-9204-B4160CC49E3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www.bga-aeroweb.com/Top-100-Defense-Contractors-2014.html</a:t>
            </a:r>
          </a:p>
        </p:txBody>
      </p:sp>
      <p:sp>
        <p:nvSpPr>
          <p:cNvPr id="153604" name="Slide Number Placeholder 3">
            <a:extLst>
              <a:ext uri="{FF2B5EF4-FFF2-40B4-BE49-F238E27FC236}">
                <a16:creationId xmlns:a16="http://schemas.microsoft.com/office/drawing/2014/main" id="{6D170CE3-1E33-4CBF-815A-F7F44F9B8C5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248205D-48C2-4FAF-A96F-CDA17D47A58A}"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a:extLst>
              <a:ext uri="{FF2B5EF4-FFF2-40B4-BE49-F238E27FC236}">
                <a16:creationId xmlns:a16="http://schemas.microsoft.com/office/drawing/2014/main" id="{AA502B58-7101-44ED-AA8B-74384133590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a:extLst>
              <a:ext uri="{FF2B5EF4-FFF2-40B4-BE49-F238E27FC236}">
                <a16:creationId xmlns:a16="http://schemas.microsoft.com/office/drawing/2014/main" id="{EBBBB42A-D3E7-4D41-A0F4-A584461241A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54628" name="Slide Number Placeholder 3">
            <a:extLst>
              <a:ext uri="{FF2B5EF4-FFF2-40B4-BE49-F238E27FC236}">
                <a16:creationId xmlns:a16="http://schemas.microsoft.com/office/drawing/2014/main" id="{32A39F5B-39C7-4B39-9F57-7D783ADA585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DFA6826-B336-4725-88C4-3C9A9F38BC29}"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a:extLst>
              <a:ext uri="{FF2B5EF4-FFF2-40B4-BE49-F238E27FC236}">
                <a16:creationId xmlns:a16="http://schemas.microsoft.com/office/drawing/2014/main" id="{40CCD355-B8F5-49EC-960E-8DAAAE28720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5651" name="Notes Placeholder 2">
            <a:extLst>
              <a:ext uri="{FF2B5EF4-FFF2-40B4-BE49-F238E27FC236}">
                <a16:creationId xmlns:a16="http://schemas.microsoft.com/office/drawing/2014/main" id="{A30F4776-215B-4755-BAF4-9EA8D41C362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federalnewsradio.com/congress/2014/07/house-panel-probes-dods-acquisition-workforce/</a:t>
            </a:r>
          </a:p>
          <a:p>
            <a:pPr>
              <a:spcBef>
                <a:spcPct val="0"/>
              </a:spcBef>
            </a:pPr>
            <a:endParaRPr lang="en-US" altLang="en-US"/>
          </a:p>
          <a:p>
            <a:pPr>
              <a:spcBef>
                <a:spcPct val="0"/>
              </a:spcBef>
            </a:pPr>
            <a:r>
              <a:rPr lang="en-US" altLang="en-US"/>
              <a:t>http://dau.dodlive.mil/2014/04/17/2013-defense-acquisition-workforce-awards/</a:t>
            </a:r>
          </a:p>
          <a:p>
            <a:pPr>
              <a:spcBef>
                <a:spcPct val="0"/>
              </a:spcBef>
            </a:pPr>
            <a:r>
              <a:rPr lang="en-US" altLang="en-US" b="1"/>
              <a:t>(Left to Right):</a:t>
            </a:r>
            <a:r>
              <a:rPr lang="en-US" altLang="en-US"/>
              <a:t> Hon. Frank Kendall, Major James Rodriguez, Hon. William LaPlante, Hon. Katrina</a:t>
            </a:r>
            <a:br>
              <a:rPr lang="en-US" altLang="en-US"/>
            </a:br>
            <a:r>
              <a:rPr lang="en-US" altLang="en-US"/>
              <a:t>McFarland</a:t>
            </a:r>
          </a:p>
          <a:p>
            <a:pPr>
              <a:spcBef>
                <a:spcPct val="0"/>
              </a:spcBef>
            </a:pPr>
            <a:endParaRPr lang="en-US" altLang="en-US"/>
          </a:p>
          <a:p>
            <a:pPr>
              <a:spcBef>
                <a:spcPct val="0"/>
              </a:spcBef>
            </a:pPr>
            <a:endParaRPr lang="en-US" altLang="en-US"/>
          </a:p>
          <a:p>
            <a:pPr>
              <a:spcBef>
                <a:spcPct val="0"/>
              </a:spcBef>
            </a:pPr>
            <a:endParaRPr lang="en-US" altLang="en-US"/>
          </a:p>
          <a:p>
            <a:pPr>
              <a:spcBef>
                <a:spcPct val="0"/>
              </a:spcBef>
            </a:pPr>
            <a:endParaRPr lang="en-US" altLang="en-US"/>
          </a:p>
        </p:txBody>
      </p:sp>
      <p:sp>
        <p:nvSpPr>
          <p:cNvPr id="155652" name="Slide Number Placeholder 3">
            <a:extLst>
              <a:ext uri="{FF2B5EF4-FFF2-40B4-BE49-F238E27FC236}">
                <a16:creationId xmlns:a16="http://schemas.microsoft.com/office/drawing/2014/main" id="{09624D05-3F26-4291-89D1-B9256C382CD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D68EDF5-D167-4BAE-8098-D9EF86CF8048}"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C754EB26-C63E-47A5-A0FC-203BEE749EA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41A13E10-5A67-457D-B7C6-7E09AC50417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91140" name="Slide Number Placeholder 3">
            <a:extLst>
              <a:ext uri="{FF2B5EF4-FFF2-40B4-BE49-F238E27FC236}">
                <a16:creationId xmlns:a16="http://schemas.microsoft.com/office/drawing/2014/main" id="{0CE52B6E-E2D8-4551-B343-70F3A7D609EC}"/>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5FD14F7-3D79-4175-BCBC-1CA26A5D1BE5}"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63500" y="1449388"/>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63500"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63500" y="2976563"/>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1ADF19AA-145C-408E-B0B9-BF37D289F42A}" type="datetimeFigureOut">
              <a:rPr lang="en-US"/>
              <a:pPr>
                <a:defRPr/>
              </a:pPr>
              <a:t>1/30/2020</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15437644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A6A18A5-C84B-493E-BD79-F081D6EA6FE9}" type="datetimeFigureOut">
              <a:rPr lang="en-US"/>
              <a:pPr>
                <a:defRPr/>
              </a:pPr>
              <a:t>1/30/2020</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40025825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9D49FB2-4431-4778-B582-AEF50B888D8B}" type="datetimeFigureOut">
              <a:rPr lang="en-US"/>
              <a:pPr>
                <a:defRPr/>
              </a:pPr>
              <a:t>1/30/2020</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38731002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84898456"/>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1170721147"/>
      </p:ext>
    </p:extLst>
  </p:cSld>
  <p:clrMapOvr>
    <a:masterClrMapping/>
  </p:clrMapOvr>
  <p:transition>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8686800" y="228600"/>
            <a:ext cx="4572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a:solidFill>
                  <a:srgbClr val="FFFFFF"/>
                </a:solidFill>
              </a:rPr>
              <a:pPr eaLnBrk="0" hangingPunct="0">
                <a:spcBef>
                  <a:spcPct val="50000"/>
                </a:spcBef>
              </a:pPr>
              <a:t>‹#›</a:t>
            </a:fld>
            <a:endParaRPr lang="en-US" altLang="en-US">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026"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ED6251D1-DAF0-4C6C-A0D8-43CEF3CF7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DC664330-F86E-4691-9557-98A096B51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4303713"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381000" y="6438900"/>
            <a:ext cx="5048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a:solidFill>
                <a:srgbClr val="FFFFFF"/>
              </a:solidFill>
              <a:latin typeface="Arial" panose="020B0604020202020204" pitchFamily="34" charset="0"/>
            </a:endParaRPr>
          </a:p>
        </p:txBody>
      </p:sp>
      <p:sp>
        <p:nvSpPr>
          <p:cNvPr id="3" name="Subtitle 2"/>
          <p:cNvSpPr>
            <a:spLocks noGrp="1"/>
          </p:cNvSpPr>
          <p:nvPr>
            <p:ph type="subTitle" idx="1"/>
          </p:nvPr>
        </p:nvSpPr>
        <p:spPr>
          <a:xfrm>
            <a:off x="251520"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5948869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A4F29903-B618-4E04-8A32-45381FDEE2A7}"/>
              </a:ext>
            </a:extLst>
          </p:cNvPr>
          <p:cNvSpPr>
            <a:spLocks noGrp="1"/>
          </p:cNvSpPr>
          <p:nvPr>
            <p:ph type="dt" sz="half" idx="10"/>
          </p:nvPr>
        </p:nvSpPr>
        <p:spPr/>
        <p:txBody>
          <a:bodyPr/>
          <a:lstStyle>
            <a:lvl1pPr>
              <a:defRPr/>
            </a:lvl1pPr>
          </a:lstStyle>
          <a:p>
            <a:pPr>
              <a:defRPr/>
            </a:pPr>
            <a:fld id="{C2F53682-9CA4-49BB-93E1-01550FD94C0D}" type="datetime1">
              <a:rPr lang="en-US"/>
              <a:pPr>
                <a:defRPr/>
              </a:pPr>
              <a:t>1/30/2020</a:t>
            </a:fld>
            <a:endParaRPr lang="en-US" dirty="0"/>
          </a:p>
        </p:txBody>
      </p:sp>
      <p:sp>
        <p:nvSpPr>
          <p:cNvPr id="5" name="Footer Placeholder 4">
            <a:extLst>
              <a:ext uri="{FF2B5EF4-FFF2-40B4-BE49-F238E27FC236}">
                <a16:creationId xmlns:a16="http://schemas.microsoft.com/office/drawing/2014/main" id="{96345A39-86D5-4D01-834E-3925C3B0885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C761B68-AC7A-4960-AE52-B26921C9E971}"/>
              </a:ext>
            </a:extLst>
          </p:cNvPr>
          <p:cNvSpPr>
            <a:spLocks noGrp="1"/>
          </p:cNvSpPr>
          <p:nvPr>
            <p:ph type="sldNum" sz="quarter" idx="12"/>
          </p:nvPr>
        </p:nvSpPr>
        <p:spPr/>
        <p:txBody>
          <a:bodyPr/>
          <a:lstStyle>
            <a:lvl1pPr>
              <a:defRPr/>
            </a:lvl1pPr>
          </a:lstStyle>
          <a:p>
            <a:fld id="{ECAF8111-48FD-4A50-B8E7-A833D4B71195}" type="slidenum">
              <a:rPr lang="en-US" altLang="en-US"/>
              <a:pPr/>
              <a:t>‹#›</a:t>
            </a:fld>
            <a:endParaRPr lang="en-US" altLang="en-US"/>
          </a:p>
        </p:txBody>
      </p:sp>
    </p:spTree>
    <p:extLst>
      <p:ext uri="{BB962C8B-B14F-4D97-AF65-F5344CB8AC3E}">
        <p14:creationId xmlns:p14="http://schemas.microsoft.com/office/powerpoint/2010/main" val="76672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14BCEDC-9F7F-42AE-8D90-7677A75B24F6}"/>
              </a:ext>
            </a:extLst>
          </p:cNvPr>
          <p:cNvSpPr txBox="1">
            <a:spLocks noChangeArrowheads="1"/>
          </p:cNvSpPr>
          <p:nvPr userDrawn="1"/>
        </p:nvSpPr>
        <p:spPr bwMode="auto">
          <a:xfrm>
            <a:off x="8077200" y="6096000"/>
            <a:ext cx="914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B2114836-9909-436A-8947-63CADB754CD4}" type="slidenum">
              <a:rPr lang="en-US" altLang="en-US"/>
              <a:pPr eaLnBrk="1" hangingPunct="1"/>
              <a:t>‹#›</a:t>
            </a:fld>
            <a:endParaRPr lang="en-US" alt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18C4F0D-5996-4F14-9C85-3D83388A3C26}"/>
              </a:ext>
            </a:extLst>
          </p:cNvPr>
          <p:cNvSpPr>
            <a:spLocks noGrp="1"/>
          </p:cNvSpPr>
          <p:nvPr>
            <p:ph type="dt" sz="half" idx="10"/>
          </p:nvPr>
        </p:nvSpPr>
        <p:spPr/>
        <p:txBody>
          <a:bodyPr/>
          <a:lstStyle>
            <a:lvl1pPr>
              <a:defRPr/>
            </a:lvl1pPr>
          </a:lstStyle>
          <a:p>
            <a:pPr>
              <a:defRPr/>
            </a:pPr>
            <a:fld id="{4D33E681-E66E-4A4E-A60E-359463C7CAD7}" type="datetime1">
              <a:rPr lang="en-US"/>
              <a:pPr>
                <a:defRPr/>
              </a:pPr>
              <a:t>1/30/2020</a:t>
            </a:fld>
            <a:endParaRPr lang="en-US" dirty="0"/>
          </a:p>
        </p:txBody>
      </p:sp>
      <p:sp>
        <p:nvSpPr>
          <p:cNvPr id="6" name="Footer Placeholder 4">
            <a:extLst>
              <a:ext uri="{FF2B5EF4-FFF2-40B4-BE49-F238E27FC236}">
                <a16:creationId xmlns:a16="http://schemas.microsoft.com/office/drawing/2014/main" id="{A800324F-A745-4789-A7F5-AC15F071754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11AB610-826F-4B27-9C81-363574CFFAF9}"/>
              </a:ext>
            </a:extLst>
          </p:cNvPr>
          <p:cNvSpPr>
            <a:spLocks noGrp="1"/>
          </p:cNvSpPr>
          <p:nvPr>
            <p:ph type="sldNum" sz="quarter" idx="12"/>
          </p:nvPr>
        </p:nvSpPr>
        <p:spPr/>
        <p:txBody>
          <a:bodyPr/>
          <a:lstStyle>
            <a:lvl1pPr>
              <a:defRPr/>
            </a:lvl1pPr>
          </a:lstStyle>
          <a:p>
            <a:fld id="{47D43392-A778-4A9D-A4DC-218667331825}" type="slidenum">
              <a:rPr lang="en-US" altLang="en-US"/>
              <a:pPr/>
              <a:t>‹#›</a:t>
            </a:fld>
            <a:endParaRPr lang="en-US" altLang="en-US"/>
          </a:p>
        </p:txBody>
      </p:sp>
    </p:spTree>
    <p:extLst>
      <p:ext uri="{BB962C8B-B14F-4D97-AF65-F5344CB8AC3E}">
        <p14:creationId xmlns:p14="http://schemas.microsoft.com/office/powerpoint/2010/main" val="863618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1CC2E5-3CBA-4E6D-9C27-3D9C46B0C7CC}"/>
              </a:ext>
            </a:extLst>
          </p:cNvPr>
          <p:cNvSpPr>
            <a:spLocks noGrp="1"/>
          </p:cNvSpPr>
          <p:nvPr>
            <p:ph type="dt" sz="half" idx="10"/>
          </p:nvPr>
        </p:nvSpPr>
        <p:spPr/>
        <p:txBody>
          <a:bodyPr/>
          <a:lstStyle>
            <a:lvl1pPr>
              <a:defRPr/>
            </a:lvl1pPr>
          </a:lstStyle>
          <a:p>
            <a:pPr>
              <a:defRPr/>
            </a:pPr>
            <a:fld id="{34FD31FB-1363-4C5A-AECD-DE98B59BFDAB}" type="datetime1">
              <a:rPr lang="en-US"/>
              <a:pPr>
                <a:defRPr/>
              </a:pPr>
              <a:t>1/30/2020</a:t>
            </a:fld>
            <a:endParaRPr lang="en-US" dirty="0"/>
          </a:p>
        </p:txBody>
      </p:sp>
      <p:sp>
        <p:nvSpPr>
          <p:cNvPr id="5" name="Footer Placeholder 4">
            <a:extLst>
              <a:ext uri="{FF2B5EF4-FFF2-40B4-BE49-F238E27FC236}">
                <a16:creationId xmlns:a16="http://schemas.microsoft.com/office/drawing/2014/main" id="{7448F386-D7FC-4275-B7CB-7C0C2E41CEF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7D47D1F-267C-4DF9-8EC6-9EBD4967102A}"/>
              </a:ext>
            </a:extLst>
          </p:cNvPr>
          <p:cNvSpPr>
            <a:spLocks noGrp="1"/>
          </p:cNvSpPr>
          <p:nvPr>
            <p:ph type="sldNum" sz="quarter" idx="12"/>
          </p:nvPr>
        </p:nvSpPr>
        <p:spPr/>
        <p:txBody>
          <a:bodyPr/>
          <a:lstStyle>
            <a:lvl1pPr>
              <a:defRPr/>
            </a:lvl1pPr>
          </a:lstStyle>
          <a:p>
            <a:fld id="{02F38E86-00DB-4479-8CFF-DFF5598D7970}" type="slidenum">
              <a:rPr lang="en-US" altLang="en-US"/>
              <a:pPr/>
              <a:t>‹#›</a:t>
            </a:fld>
            <a:endParaRPr lang="en-US" altLang="en-US"/>
          </a:p>
        </p:txBody>
      </p:sp>
    </p:spTree>
    <p:extLst>
      <p:ext uri="{BB962C8B-B14F-4D97-AF65-F5344CB8AC3E}">
        <p14:creationId xmlns:p14="http://schemas.microsoft.com/office/powerpoint/2010/main" val="10338766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E4DFD0AD-C803-4852-9882-FF316B860455}"/>
              </a:ext>
            </a:extLst>
          </p:cNvPr>
          <p:cNvSpPr>
            <a:spLocks noGrp="1"/>
          </p:cNvSpPr>
          <p:nvPr>
            <p:ph type="dt" sz="half" idx="10"/>
          </p:nvPr>
        </p:nvSpPr>
        <p:spPr/>
        <p:txBody>
          <a:bodyPr/>
          <a:lstStyle>
            <a:lvl1pPr>
              <a:defRPr/>
            </a:lvl1pPr>
          </a:lstStyle>
          <a:p>
            <a:pPr>
              <a:defRPr/>
            </a:pPr>
            <a:fld id="{4944EA41-C134-4EE0-8851-FEC96E731356}" type="datetime1">
              <a:rPr lang="en-US"/>
              <a:pPr>
                <a:defRPr/>
              </a:pPr>
              <a:t>1/30/2020</a:t>
            </a:fld>
            <a:endParaRPr lang="en-US" dirty="0"/>
          </a:p>
        </p:txBody>
      </p:sp>
      <p:sp>
        <p:nvSpPr>
          <p:cNvPr id="6" name="Footer Placeholder 4">
            <a:extLst>
              <a:ext uri="{FF2B5EF4-FFF2-40B4-BE49-F238E27FC236}">
                <a16:creationId xmlns:a16="http://schemas.microsoft.com/office/drawing/2014/main" id="{B91BF4CA-A0CB-4981-9AFF-AF992EA1238B}"/>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8C4D290-6D2D-449F-8655-D16AD0E09660}"/>
              </a:ext>
            </a:extLst>
          </p:cNvPr>
          <p:cNvSpPr>
            <a:spLocks noGrp="1"/>
          </p:cNvSpPr>
          <p:nvPr>
            <p:ph type="sldNum" sz="quarter" idx="12"/>
          </p:nvPr>
        </p:nvSpPr>
        <p:spPr/>
        <p:txBody>
          <a:bodyPr/>
          <a:lstStyle>
            <a:lvl1pPr>
              <a:defRPr/>
            </a:lvl1pPr>
          </a:lstStyle>
          <a:p>
            <a:fld id="{59F1B313-C90E-44D4-AD8F-97D1FD8586BB}" type="slidenum">
              <a:rPr lang="en-US" altLang="en-US"/>
              <a:pPr/>
              <a:t>‹#›</a:t>
            </a:fld>
            <a:endParaRPr lang="en-US" altLang="en-US"/>
          </a:p>
        </p:txBody>
      </p:sp>
    </p:spTree>
    <p:extLst>
      <p:ext uri="{BB962C8B-B14F-4D97-AF65-F5344CB8AC3E}">
        <p14:creationId xmlns:p14="http://schemas.microsoft.com/office/powerpoint/2010/main" val="3298810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FAD8CF75-BE6F-4535-874E-8439A8C0D6ED}"/>
              </a:ext>
            </a:extLst>
          </p:cNvPr>
          <p:cNvSpPr>
            <a:spLocks noGrp="1"/>
          </p:cNvSpPr>
          <p:nvPr>
            <p:ph type="dt" sz="half" idx="10"/>
          </p:nvPr>
        </p:nvSpPr>
        <p:spPr/>
        <p:txBody>
          <a:bodyPr/>
          <a:lstStyle>
            <a:lvl1pPr>
              <a:defRPr/>
            </a:lvl1pPr>
          </a:lstStyle>
          <a:p>
            <a:pPr>
              <a:defRPr/>
            </a:pPr>
            <a:fld id="{91F9A49E-E4A9-448A-9510-2670D00CC65A}" type="datetime1">
              <a:rPr lang="en-US"/>
              <a:pPr>
                <a:defRPr/>
              </a:pPr>
              <a:t>1/30/2020</a:t>
            </a:fld>
            <a:endParaRPr lang="en-US" dirty="0"/>
          </a:p>
        </p:txBody>
      </p:sp>
      <p:sp>
        <p:nvSpPr>
          <p:cNvPr id="8" name="Footer Placeholder 4">
            <a:extLst>
              <a:ext uri="{FF2B5EF4-FFF2-40B4-BE49-F238E27FC236}">
                <a16:creationId xmlns:a16="http://schemas.microsoft.com/office/drawing/2014/main" id="{C22FF299-5768-4126-ACBD-1AA67E6A7C54}"/>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6BC915E9-C6B8-4850-973D-D45E1583D09C}"/>
              </a:ext>
            </a:extLst>
          </p:cNvPr>
          <p:cNvSpPr>
            <a:spLocks noGrp="1"/>
          </p:cNvSpPr>
          <p:nvPr>
            <p:ph type="sldNum" sz="quarter" idx="12"/>
          </p:nvPr>
        </p:nvSpPr>
        <p:spPr/>
        <p:txBody>
          <a:bodyPr/>
          <a:lstStyle>
            <a:lvl1pPr>
              <a:defRPr/>
            </a:lvl1pPr>
          </a:lstStyle>
          <a:p>
            <a:fld id="{21537F2D-6966-4077-8436-0CCADA133BE9}" type="slidenum">
              <a:rPr lang="en-US" altLang="en-US"/>
              <a:pPr/>
              <a:t>‹#›</a:t>
            </a:fld>
            <a:endParaRPr lang="en-US" altLang="en-US"/>
          </a:p>
        </p:txBody>
      </p:sp>
    </p:spTree>
    <p:extLst>
      <p:ext uri="{BB962C8B-B14F-4D97-AF65-F5344CB8AC3E}">
        <p14:creationId xmlns:p14="http://schemas.microsoft.com/office/powerpoint/2010/main" val="2239740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7673975" y="566738"/>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a:solidFill>
                  <a:srgbClr val="000000"/>
                </a:solidFill>
              </a:rPr>
              <a:pPr algn="r"/>
              <a:t>‹#›</a:t>
            </a:fld>
            <a:endParaRPr lang="en-US" altLang="en-US">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4704CECA-EA3E-41F8-8AA7-7FA36044E46A}" type="datetimeFigureOut">
              <a:rPr lang="en-US"/>
              <a:pPr>
                <a:defRPr/>
              </a:pPr>
              <a:t>1/30/2020</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4289341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E5AB37F8-7D71-41D5-A930-6A389EFA8EEB}"/>
              </a:ext>
            </a:extLst>
          </p:cNvPr>
          <p:cNvSpPr>
            <a:spLocks noGrp="1"/>
          </p:cNvSpPr>
          <p:nvPr>
            <p:ph type="dt" sz="half" idx="10"/>
          </p:nvPr>
        </p:nvSpPr>
        <p:spPr/>
        <p:txBody>
          <a:bodyPr/>
          <a:lstStyle>
            <a:lvl1pPr>
              <a:defRPr/>
            </a:lvl1pPr>
          </a:lstStyle>
          <a:p>
            <a:pPr>
              <a:defRPr/>
            </a:pPr>
            <a:fld id="{455825B4-D432-4DB8-A231-79205544834C}" type="datetime1">
              <a:rPr lang="en-US"/>
              <a:pPr>
                <a:defRPr/>
              </a:pPr>
              <a:t>1/30/2020</a:t>
            </a:fld>
            <a:endParaRPr lang="en-US" dirty="0"/>
          </a:p>
        </p:txBody>
      </p:sp>
      <p:sp>
        <p:nvSpPr>
          <p:cNvPr id="4" name="Footer Placeholder 4">
            <a:extLst>
              <a:ext uri="{FF2B5EF4-FFF2-40B4-BE49-F238E27FC236}">
                <a16:creationId xmlns:a16="http://schemas.microsoft.com/office/drawing/2014/main" id="{B46C3825-7CE6-4DA9-88C9-201721669829}"/>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612AF042-4AE6-4426-AF2B-45AC1EF6F35B}"/>
              </a:ext>
            </a:extLst>
          </p:cNvPr>
          <p:cNvSpPr>
            <a:spLocks noGrp="1"/>
          </p:cNvSpPr>
          <p:nvPr>
            <p:ph type="sldNum" sz="quarter" idx="12"/>
          </p:nvPr>
        </p:nvSpPr>
        <p:spPr/>
        <p:txBody>
          <a:bodyPr/>
          <a:lstStyle>
            <a:lvl1pPr>
              <a:defRPr/>
            </a:lvl1pPr>
          </a:lstStyle>
          <a:p>
            <a:fld id="{30947775-39CF-4D2F-B610-84779DA09938}" type="slidenum">
              <a:rPr lang="en-US" altLang="en-US"/>
              <a:pPr/>
              <a:t>‹#›</a:t>
            </a:fld>
            <a:endParaRPr lang="en-US" altLang="en-US"/>
          </a:p>
        </p:txBody>
      </p:sp>
    </p:spTree>
    <p:extLst>
      <p:ext uri="{BB962C8B-B14F-4D97-AF65-F5344CB8AC3E}">
        <p14:creationId xmlns:p14="http://schemas.microsoft.com/office/powerpoint/2010/main" val="3318946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29E2AE4-0A98-4121-B33C-F431442C38CC}"/>
              </a:ext>
            </a:extLst>
          </p:cNvPr>
          <p:cNvSpPr>
            <a:spLocks noGrp="1"/>
          </p:cNvSpPr>
          <p:nvPr>
            <p:ph type="dt" sz="half" idx="10"/>
          </p:nvPr>
        </p:nvSpPr>
        <p:spPr/>
        <p:txBody>
          <a:bodyPr/>
          <a:lstStyle>
            <a:lvl1pPr>
              <a:defRPr/>
            </a:lvl1pPr>
          </a:lstStyle>
          <a:p>
            <a:pPr>
              <a:defRPr/>
            </a:pPr>
            <a:fld id="{F18C7EA7-5367-44F0-9CB1-71F7745310FB}" type="datetime1">
              <a:rPr lang="en-US"/>
              <a:pPr>
                <a:defRPr/>
              </a:pPr>
              <a:t>1/30/2020</a:t>
            </a:fld>
            <a:endParaRPr lang="en-US" dirty="0"/>
          </a:p>
        </p:txBody>
      </p:sp>
      <p:sp>
        <p:nvSpPr>
          <p:cNvPr id="3" name="Footer Placeholder 4">
            <a:extLst>
              <a:ext uri="{FF2B5EF4-FFF2-40B4-BE49-F238E27FC236}">
                <a16:creationId xmlns:a16="http://schemas.microsoft.com/office/drawing/2014/main" id="{B0B2FB5A-F5B1-4A45-A94E-5B9C7793D49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94794419-A643-4FDF-AB79-15FFB5FC0ED4}"/>
              </a:ext>
            </a:extLst>
          </p:cNvPr>
          <p:cNvSpPr>
            <a:spLocks noGrp="1"/>
          </p:cNvSpPr>
          <p:nvPr>
            <p:ph type="sldNum" sz="quarter" idx="12"/>
          </p:nvPr>
        </p:nvSpPr>
        <p:spPr/>
        <p:txBody>
          <a:bodyPr/>
          <a:lstStyle>
            <a:lvl1pPr>
              <a:defRPr/>
            </a:lvl1pPr>
          </a:lstStyle>
          <a:p>
            <a:fld id="{B74E6270-B65D-469D-ACE0-45534BB659CB}" type="slidenum">
              <a:rPr lang="en-US" altLang="en-US"/>
              <a:pPr/>
              <a:t>‹#›</a:t>
            </a:fld>
            <a:endParaRPr lang="en-US" altLang="en-US"/>
          </a:p>
        </p:txBody>
      </p:sp>
    </p:spTree>
    <p:extLst>
      <p:ext uri="{BB962C8B-B14F-4D97-AF65-F5344CB8AC3E}">
        <p14:creationId xmlns:p14="http://schemas.microsoft.com/office/powerpoint/2010/main" val="30104243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A6E94A29-E957-4C8A-AD7F-FFA3ABC94620}"/>
              </a:ext>
            </a:extLst>
          </p:cNvPr>
          <p:cNvSpPr>
            <a:spLocks noGrp="1"/>
          </p:cNvSpPr>
          <p:nvPr>
            <p:ph type="dt" sz="half" idx="10"/>
          </p:nvPr>
        </p:nvSpPr>
        <p:spPr/>
        <p:txBody>
          <a:bodyPr/>
          <a:lstStyle>
            <a:lvl1pPr>
              <a:defRPr/>
            </a:lvl1pPr>
          </a:lstStyle>
          <a:p>
            <a:pPr>
              <a:defRPr/>
            </a:pPr>
            <a:fld id="{84F7C3BC-ECC2-4DB9-962E-608D06442AA8}" type="datetime1">
              <a:rPr lang="en-US"/>
              <a:pPr>
                <a:defRPr/>
              </a:pPr>
              <a:t>1/30/2020</a:t>
            </a:fld>
            <a:endParaRPr lang="en-US" dirty="0"/>
          </a:p>
        </p:txBody>
      </p:sp>
      <p:sp>
        <p:nvSpPr>
          <p:cNvPr id="6" name="Footer Placeholder 4">
            <a:extLst>
              <a:ext uri="{FF2B5EF4-FFF2-40B4-BE49-F238E27FC236}">
                <a16:creationId xmlns:a16="http://schemas.microsoft.com/office/drawing/2014/main" id="{754B9CEF-A4D7-41E7-B915-DC05675F1B0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C4CC259-1898-4C54-B0BA-348D3F617203}"/>
              </a:ext>
            </a:extLst>
          </p:cNvPr>
          <p:cNvSpPr>
            <a:spLocks noGrp="1"/>
          </p:cNvSpPr>
          <p:nvPr>
            <p:ph type="sldNum" sz="quarter" idx="12"/>
          </p:nvPr>
        </p:nvSpPr>
        <p:spPr/>
        <p:txBody>
          <a:bodyPr/>
          <a:lstStyle>
            <a:lvl1pPr>
              <a:defRPr/>
            </a:lvl1pPr>
          </a:lstStyle>
          <a:p>
            <a:fld id="{0709CCD4-406D-4F4B-8A70-48E832CB4A1A}" type="slidenum">
              <a:rPr lang="en-US" altLang="en-US"/>
              <a:pPr/>
              <a:t>‹#›</a:t>
            </a:fld>
            <a:endParaRPr lang="en-US" altLang="en-US"/>
          </a:p>
        </p:txBody>
      </p:sp>
    </p:spTree>
    <p:extLst>
      <p:ext uri="{BB962C8B-B14F-4D97-AF65-F5344CB8AC3E}">
        <p14:creationId xmlns:p14="http://schemas.microsoft.com/office/powerpoint/2010/main" val="27837316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BD1CAEB-6D51-4B4A-9D01-7997626505AF}"/>
              </a:ext>
            </a:extLst>
          </p:cNvPr>
          <p:cNvSpPr>
            <a:spLocks noGrp="1"/>
          </p:cNvSpPr>
          <p:nvPr>
            <p:ph type="dt" sz="half" idx="10"/>
          </p:nvPr>
        </p:nvSpPr>
        <p:spPr/>
        <p:txBody>
          <a:bodyPr/>
          <a:lstStyle>
            <a:lvl1pPr>
              <a:defRPr/>
            </a:lvl1pPr>
          </a:lstStyle>
          <a:p>
            <a:pPr>
              <a:defRPr/>
            </a:pPr>
            <a:fld id="{73E3DB0E-B4B6-4A23-88F5-98A06C70532A}" type="datetime1">
              <a:rPr lang="en-US"/>
              <a:pPr>
                <a:defRPr/>
              </a:pPr>
              <a:t>1/30/2020</a:t>
            </a:fld>
            <a:endParaRPr lang="en-US" dirty="0"/>
          </a:p>
        </p:txBody>
      </p:sp>
      <p:sp>
        <p:nvSpPr>
          <p:cNvPr id="6" name="Footer Placeholder 4">
            <a:extLst>
              <a:ext uri="{FF2B5EF4-FFF2-40B4-BE49-F238E27FC236}">
                <a16:creationId xmlns:a16="http://schemas.microsoft.com/office/drawing/2014/main" id="{11B6C50B-97EC-4AE4-A260-A561A5D61AB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AE4651D-2F07-4E15-ABA1-20AB0F001C27}"/>
              </a:ext>
            </a:extLst>
          </p:cNvPr>
          <p:cNvSpPr>
            <a:spLocks noGrp="1"/>
          </p:cNvSpPr>
          <p:nvPr>
            <p:ph type="sldNum" sz="quarter" idx="12"/>
          </p:nvPr>
        </p:nvSpPr>
        <p:spPr/>
        <p:txBody>
          <a:bodyPr/>
          <a:lstStyle>
            <a:lvl1pPr>
              <a:defRPr/>
            </a:lvl1pPr>
          </a:lstStyle>
          <a:p>
            <a:fld id="{4FEF99C1-DD32-486B-B32A-464D477B7FC4}" type="slidenum">
              <a:rPr lang="en-US" altLang="en-US"/>
              <a:pPr/>
              <a:t>‹#›</a:t>
            </a:fld>
            <a:endParaRPr lang="en-US" altLang="en-US"/>
          </a:p>
        </p:txBody>
      </p:sp>
    </p:spTree>
    <p:extLst>
      <p:ext uri="{BB962C8B-B14F-4D97-AF65-F5344CB8AC3E}">
        <p14:creationId xmlns:p14="http://schemas.microsoft.com/office/powerpoint/2010/main" val="3910801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FC92AD-335A-4571-8217-5B4F9821BA21}"/>
              </a:ext>
            </a:extLst>
          </p:cNvPr>
          <p:cNvSpPr>
            <a:spLocks noGrp="1"/>
          </p:cNvSpPr>
          <p:nvPr>
            <p:ph type="dt" sz="half" idx="10"/>
          </p:nvPr>
        </p:nvSpPr>
        <p:spPr/>
        <p:txBody>
          <a:bodyPr/>
          <a:lstStyle>
            <a:lvl1pPr>
              <a:defRPr/>
            </a:lvl1pPr>
          </a:lstStyle>
          <a:p>
            <a:pPr>
              <a:defRPr/>
            </a:pPr>
            <a:fld id="{CCAECF87-7BB3-469F-9C0A-9FD997C9FE76}" type="datetime1">
              <a:rPr lang="en-US"/>
              <a:pPr>
                <a:defRPr/>
              </a:pPr>
              <a:t>1/30/2020</a:t>
            </a:fld>
            <a:endParaRPr lang="en-US" dirty="0"/>
          </a:p>
        </p:txBody>
      </p:sp>
      <p:sp>
        <p:nvSpPr>
          <p:cNvPr id="5" name="Footer Placeholder 4">
            <a:extLst>
              <a:ext uri="{FF2B5EF4-FFF2-40B4-BE49-F238E27FC236}">
                <a16:creationId xmlns:a16="http://schemas.microsoft.com/office/drawing/2014/main" id="{094F5DBC-F000-4A26-9BAB-C6FB50C4812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81ED2FD-8DBF-4063-A1FD-6708EC79CEEE}"/>
              </a:ext>
            </a:extLst>
          </p:cNvPr>
          <p:cNvSpPr>
            <a:spLocks noGrp="1"/>
          </p:cNvSpPr>
          <p:nvPr>
            <p:ph type="sldNum" sz="quarter" idx="12"/>
          </p:nvPr>
        </p:nvSpPr>
        <p:spPr/>
        <p:txBody>
          <a:bodyPr/>
          <a:lstStyle>
            <a:lvl1pPr>
              <a:defRPr/>
            </a:lvl1pPr>
          </a:lstStyle>
          <a:p>
            <a:fld id="{C425EBF3-8254-4953-A8A0-4DDED8143DFA}" type="slidenum">
              <a:rPr lang="en-US" altLang="en-US"/>
              <a:pPr/>
              <a:t>‹#›</a:t>
            </a:fld>
            <a:endParaRPr lang="en-US" altLang="en-US"/>
          </a:p>
        </p:txBody>
      </p:sp>
    </p:spTree>
    <p:extLst>
      <p:ext uri="{BB962C8B-B14F-4D97-AF65-F5344CB8AC3E}">
        <p14:creationId xmlns:p14="http://schemas.microsoft.com/office/powerpoint/2010/main" val="5095037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468B06-66DF-4D79-9505-B87699000DEF}"/>
              </a:ext>
            </a:extLst>
          </p:cNvPr>
          <p:cNvSpPr>
            <a:spLocks noGrp="1"/>
          </p:cNvSpPr>
          <p:nvPr>
            <p:ph type="dt" sz="half" idx="10"/>
          </p:nvPr>
        </p:nvSpPr>
        <p:spPr/>
        <p:txBody>
          <a:bodyPr/>
          <a:lstStyle>
            <a:lvl1pPr>
              <a:defRPr/>
            </a:lvl1pPr>
          </a:lstStyle>
          <a:p>
            <a:pPr>
              <a:defRPr/>
            </a:pPr>
            <a:fld id="{DB7B4F87-2547-48BE-9953-EF92B627F3EA}" type="datetime1">
              <a:rPr lang="en-US"/>
              <a:pPr>
                <a:defRPr/>
              </a:pPr>
              <a:t>1/30/2020</a:t>
            </a:fld>
            <a:endParaRPr lang="en-US" dirty="0"/>
          </a:p>
        </p:txBody>
      </p:sp>
      <p:sp>
        <p:nvSpPr>
          <p:cNvPr id="5" name="Footer Placeholder 4">
            <a:extLst>
              <a:ext uri="{FF2B5EF4-FFF2-40B4-BE49-F238E27FC236}">
                <a16:creationId xmlns:a16="http://schemas.microsoft.com/office/drawing/2014/main" id="{F1E98124-A7D2-45B8-8511-ED956EDA27D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2DA8218-159C-4B5A-AA88-5F3BAD44A6FB}"/>
              </a:ext>
            </a:extLst>
          </p:cNvPr>
          <p:cNvSpPr>
            <a:spLocks noGrp="1"/>
          </p:cNvSpPr>
          <p:nvPr>
            <p:ph type="sldNum" sz="quarter" idx="12"/>
          </p:nvPr>
        </p:nvSpPr>
        <p:spPr/>
        <p:txBody>
          <a:bodyPr/>
          <a:lstStyle>
            <a:lvl1pPr>
              <a:defRPr/>
            </a:lvl1pPr>
          </a:lstStyle>
          <a:p>
            <a:fld id="{CC1155D3-DB15-4372-B85F-35B2B57C55DC}" type="slidenum">
              <a:rPr lang="en-US" altLang="en-US"/>
              <a:pPr/>
              <a:t>‹#›</a:t>
            </a:fld>
            <a:endParaRPr lang="en-US" altLang="en-US"/>
          </a:p>
        </p:txBody>
      </p:sp>
    </p:spTree>
    <p:extLst>
      <p:ext uri="{BB962C8B-B14F-4D97-AF65-F5344CB8AC3E}">
        <p14:creationId xmlns:p14="http://schemas.microsoft.com/office/powerpoint/2010/main" val="2943641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5" y="5526088"/>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2"/>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C2347440-1C08-46CA-8D4C-C63EB660812C}" type="datetimeFigureOut">
              <a:rPr lang="en-US"/>
              <a:pPr>
                <a:defRPr/>
              </a:pPr>
              <a:t>1/30/2020</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46050" y="6208713"/>
            <a:ext cx="4572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304377766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3F777B4A-24A2-49CC-B6BC-46A0F7E41B4F}" type="datetimeFigureOut">
              <a:rPr lang="en-US"/>
              <a:pPr>
                <a:defRPr/>
              </a:pPr>
              <a:t>1/30/2020</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2575808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9EA96C9F-0518-4111-A588-50498919AC3F}" type="datetimeFigureOut">
              <a:rPr lang="en-US"/>
              <a:pPr>
                <a:defRPr/>
              </a:pPr>
              <a:t>1/30/2020</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3601861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88"/>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E449CA87-611F-44C0-A415-463AFD5C0E11}" type="datetimeFigureOut">
              <a:rPr lang="en-US"/>
              <a:pPr>
                <a:defRPr/>
              </a:pPr>
              <a:t>1/30/2020</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4141913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38"/>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C3137619-E0A8-47E8-A2F0-7E5E7ED9BA6C}" type="datetimeFigureOut">
              <a:rPr lang="en-US"/>
              <a:pPr>
                <a:defRPr/>
              </a:pPr>
              <a:t>1/30/2020</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2504517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8" y="5519738"/>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D27269C1-0D38-4431-9C75-940E98C51A68}" type="datetimeFigureOut">
              <a:rPr lang="en-US"/>
              <a:pPr>
                <a:defRPr/>
              </a:pPr>
              <a:t>1/30/2020</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21903535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68263"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8773A8AD-2011-4AEB-A457-8520F092B770}" type="datetimeFigureOut">
              <a:rPr lang="en-US"/>
              <a:pPr>
                <a:defRPr/>
              </a:pPr>
              <a:t>1/30/2020</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46050" y="6208713"/>
            <a:ext cx="4572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4218756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7.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7AA0EA55-D2DC-46AF-995D-D8F5F8F24BCB}" type="datetimeFigureOut">
              <a:rPr lang="en-US"/>
              <a:pPr>
                <a:defRPr/>
              </a:pPr>
              <a:t>1/30/2020</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extLst>
      <p:ext uri="{BB962C8B-B14F-4D97-AF65-F5344CB8AC3E}">
        <p14:creationId xmlns:p14="http://schemas.microsoft.com/office/powerpoint/2010/main" val="139121394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9220726D-FFB6-4716-9FD1-92C61E2F9349}"/>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EE234130-AD84-41DE-90F4-834F46EE7766}"/>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A22D5527-5CB0-48EE-8218-80EA85963D7D}"/>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DEE1B5E2-A784-4B09-BC21-0E1DD47A16CF}" type="datetime1">
              <a:rPr lang="en-US"/>
              <a:pPr>
                <a:defRPr/>
              </a:pPr>
              <a:t>1/30/2020</a:t>
            </a:fld>
            <a:endParaRPr lang="en-US" dirty="0"/>
          </a:p>
        </p:txBody>
      </p:sp>
      <p:sp>
        <p:nvSpPr>
          <p:cNvPr id="5" name="Footer Placeholder 4">
            <a:extLst>
              <a:ext uri="{FF2B5EF4-FFF2-40B4-BE49-F238E27FC236}">
                <a16:creationId xmlns:a16="http://schemas.microsoft.com/office/drawing/2014/main" id="{47CFEB3F-93DF-492E-9171-7841688B4B70}"/>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6750369F-A6FF-4EA5-953B-672732BF7F37}"/>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defRPr>
            </a:lvl1pPr>
          </a:lstStyle>
          <a:p>
            <a:fld id="{0F935368-4B0A-42DA-A2AA-F98F61E74B2E}" type="slidenum">
              <a:rPr lang="en-US" altLang="en-US"/>
              <a:pPr/>
              <a:t>‹#›</a:t>
            </a:fld>
            <a:endParaRPr lang="en-US" altLang="en-US"/>
          </a:p>
        </p:txBody>
      </p:sp>
    </p:spTree>
    <p:extLst>
      <p:ext uri="{BB962C8B-B14F-4D97-AF65-F5344CB8AC3E}">
        <p14:creationId xmlns:p14="http://schemas.microsoft.com/office/powerpoint/2010/main" val="774294152"/>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jpeg"/></Relationships>
</file>

<file path=ppt/slides/_rels/slide1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hyperlink" Target="http://www.alumni.hbs.edu/bulletin/1997/february/img/negotiation.jpeg" TargetMode="External"/><Relationship Id="rId7" Type="http://schemas.openxmlformats.org/officeDocument/2006/relationships/hyperlink" Target="http://www.washington.edu/admin/surplus/bidsales.html" TargetMode="External"/><Relationship Id="rId2" Type="http://schemas.openxmlformats.org/officeDocument/2006/relationships/image" Target="../media/image9.jpeg"/><Relationship Id="rId1" Type="http://schemas.openxmlformats.org/officeDocument/2006/relationships/slideLayout" Target="../slideLayouts/slideLayout6.xml"/><Relationship Id="rId6" Type="http://schemas.openxmlformats.org/officeDocument/2006/relationships/image" Target="../media/image11.jpeg"/><Relationship Id="rId5" Type="http://schemas.openxmlformats.org/officeDocument/2006/relationships/image" Target="http://www.alumni.hbs.edu/bulletin/1997/february/img/negotiation.jpeg" TargetMode="External"/><Relationship Id="rId4" Type="http://schemas.openxmlformats.org/officeDocument/2006/relationships/image" Target="../media/image10.jpe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1.xml"/><Relationship Id="rId4" Type="http://schemas.openxmlformats.org/officeDocument/2006/relationships/image" Target="../media/image33.jpeg"/></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35.png"/></Relationships>
</file>

<file path=ppt/slides/_rels/slide35.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diagramLayout" Target="../diagrams/layout7.xml"/><Relationship Id="rId7" Type="http://schemas.openxmlformats.org/officeDocument/2006/relationships/image" Target="../media/image36.png"/><Relationship Id="rId2" Type="http://schemas.openxmlformats.org/officeDocument/2006/relationships/diagramData" Target="../diagrams/data7.xml"/><Relationship Id="rId1" Type="http://schemas.openxmlformats.org/officeDocument/2006/relationships/slideLayout" Target="../slideLayouts/slideLayout20.xml"/><Relationship Id="rId6" Type="http://schemas.microsoft.com/office/2007/relationships/diagramDrawing" Target="../diagrams/drawing7.xml"/><Relationship Id="rId5" Type="http://schemas.openxmlformats.org/officeDocument/2006/relationships/diagramColors" Target="../diagrams/colors7.xml"/><Relationship Id="rId10" Type="http://schemas.openxmlformats.org/officeDocument/2006/relationships/image" Target="../media/image39.png"/><Relationship Id="rId4" Type="http://schemas.openxmlformats.org/officeDocument/2006/relationships/diagramQuickStyle" Target="../diagrams/quickStyle7.xml"/><Relationship Id="rId9" Type="http://schemas.openxmlformats.org/officeDocument/2006/relationships/image" Target="../media/image38.jpeg"/></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8.png"/><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3" Type="http://schemas.openxmlformats.org/officeDocument/2006/relationships/package" Target="../embeddings/Microsoft_PowerPoint_Presentation.pptx"/><Relationship Id="rId2" Type="http://schemas.openxmlformats.org/officeDocument/2006/relationships/slideLayout" Target="../slideLayouts/slideLayout21.xml"/><Relationship Id="rId1" Type="http://schemas.openxmlformats.org/officeDocument/2006/relationships/vmlDrawing" Target="../drawings/vmlDrawing2.vml"/><Relationship Id="rId4" Type="http://schemas.openxmlformats.org/officeDocument/2006/relationships/image" Target="../media/image42.emf"/></Relationships>
</file>

<file path=ppt/slides/_rels/slide4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package" Target="../embeddings/Microsoft_PowerPoint_Presentation.pptx"/><Relationship Id="rId2" Type="http://schemas.openxmlformats.org/officeDocument/2006/relationships/slideLayout" Target="../slideLayouts/slideLayout21.xml"/><Relationship Id="rId1" Type="http://schemas.openxmlformats.org/officeDocument/2006/relationships/vmlDrawing" Target="../drawings/vmlDrawing3.vml"/><Relationship Id="rId4" Type="http://schemas.openxmlformats.org/officeDocument/2006/relationships/image" Target="../media/image42.emf"/></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hyperlink" Target="http://www.washington.edu/admin/surplus/bidsales.html" TargetMode="External"/><Relationship Id="rId7" Type="http://schemas.openxmlformats.org/officeDocument/2006/relationships/image" Target="../media/image11.jpeg"/><Relationship Id="rId2" Type="http://schemas.openxmlformats.org/officeDocument/2006/relationships/hyperlink" Target="http://www.alumni.hbs.edu/bulletin/1997/february/img/negotiation.jpeg" TargetMode="External"/><Relationship Id="rId1" Type="http://schemas.openxmlformats.org/officeDocument/2006/relationships/slideLayout" Target="../slideLayouts/slideLayout6.xml"/><Relationship Id="rId6" Type="http://schemas.openxmlformats.org/officeDocument/2006/relationships/image" Target="http://www.alumni.hbs.edu/bulletin/1997/february/img/negotiation.jpeg" TargetMode="External"/><Relationship Id="rId5" Type="http://schemas.openxmlformats.org/officeDocument/2006/relationships/image" Target="../media/image10.jpe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www.alumni.hbs.edu/bulletin/1997/february/img/negotiation.jpeg" TargetMode="External"/><Relationship Id="rId1" Type="http://schemas.openxmlformats.org/officeDocument/2006/relationships/slideLayout" Target="../slideLayouts/slideLayout6.xml"/><Relationship Id="rId4" Type="http://schemas.openxmlformats.org/officeDocument/2006/relationships/image" Target="http://www.alumni.hbs.edu/bulletin/1997/february/img/negotiation.jpeg" TargetMode="Externa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80D1B35-1176-4C96-911D-45B57C99E86F}"/>
              </a:ext>
            </a:extLst>
          </p:cNvPr>
          <p:cNvSpPr>
            <a:spLocks noGrp="1"/>
          </p:cNvSpPr>
          <p:nvPr>
            <p:ph type="subTitle" idx="1"/>
          </p:nvPr>
        </p:nvSpPr>
        <p:spPr>
          <a:xfrm>
            <a:off x="574675" y="3200400"/>
            <a:ext cx="7831138" cy="2625725"/>
          </a:xfrm>
        </p:spPr>
        <p:txBody>
          <a:bodyPr>
            <a:normAutofit fontScale="77500" lnSpcReduction="20000"/>
          </a:bodyPr>
          <a:lstStyle/>
          <a:p>
            <a:pPr fontAlgn="auto">
              <a:spcBef>
                <a:spcPts val="580"/>
              </a:spcBef>
              <a:spcAft>
                <a:spcPts val="0"/>
              </a:spcAft>
              <a:buFont typeface="Wingdings 2"/>
              <a:buNone/>
              <a:defRPr/>
            </a:pPr>
            <a:endParaRPr lang="en-US" dirty="0">
              <a:solidFill>
                <a:schemeClr val="tx1"/>
              </a:solidFill>
            </a:endParaRPr>
          </a:p>
          <a:p>
            <a:pPr fontAlgn="auto">
              <a:spcBef>
                <a:spcPts val="580"/>
              </a:spcBef>
              <a:spcAft>
                <a:spcPts val="0"/>
              </a:spcAft>
              <a:buFont typeface="Wingdings 2"/>
              <a:buNone/>
              <a:defRPr/>
            </a:pPr>
            <a:r>
              <a:rPr lang="en-US" dirty="0">
                <a:solidFill>
                  <a:schemeClr val="tx1"/>
                </a:solidFill>
              </a:rPr>
              <a:t>Professor Christopher Yukins</a:t>
            </a:r>
          </a:p>
          <a:p>
            <a:pPr fontAlgn="auto">
              <a:spcBef>
                <a:spcPts val="580"/>
              </a:spcBef>
              <a:spcAft>
                <a:spcPts val="0"/>
              </a:spcAft>
              <a:buFont typeface="Wingdings 2"/>
              <a:buNone/>
              <a:defRPr/>
            </a:pPr>
            <a:r>
              <a:rPr lang="en-US" dirty="0">
                <a:solidFill>
                  <a:schemeClr val="tx1"/>
                </a:solidFill>
              </a:rPr>
              <a:t>George Washington University Law School</a:t>
            </a:r>
          </a:p>
          <a:p>
            <a:pPr fontAlgn="auto">
              <a:spcBef>
                <a:spcPts val="580"/>
              </a:spcBef>
              <a:spcAft>
                <a:spcPts val="0"/>
              </a:spcAft>
              <a:buFont typeface="Wingdings 2"/>
              <a:buNone/>
              <a:defRPr/>
            </a:pPr>
            <a:r>
              <a:rPr lang="en-US" dirty="0">
                <a:solidFill>
                  <a:schemeClr val="tx1"/>
                </a:solidFill>
              </a:rPr>
              <a:t>Washington DC</a:t>
            </a:r>
          </a:p>
          <a:p>
            <a:pPr fontAlgn="auto">
              <a:spcBef>
                <a:spcPts val="580"/>
              </a:spcBef>
              <a:spcAft>
                <a:spcPts val="0"/>
              </a:spcAft>
              <a:buFont typeface="Wingdings 2"/>
              <a:buNone/>
              <a:defRPr/>
            </a:pPr>
            <a:endParaRPr lang="en-US" dirty="0">
              <a:solidFill>
                <a:schemeClr val="tx1"/>
              </a:solidFill>
            </a:endParaRPr>
          </a:p>
          <a:p>
            <a:pPr fontAlgn="auto">
              <a:spcBef>
                <a:spcPts val="580"/>
              </a:spcBef>
              <a:spcAft>
                <a:spcPts val="0"/>
              </a:spcAft>
              <a:buFont typeface="Wingdings 2"/>
              <a:buNone/>
              <a:defRPr/>
            </a:pPr>
            <a:r>
              <a:rPr lang="en-US" dirty="0">
                <a:solidFill>
                  <a:schemeClr val="tx1"/>
                </a:solidFill>
              </a:rPr>
              <a:t>February 4, 2020</a:t>
            </a:r>
          </a:p>
          <a:p>
            <a:pPr fontAlgn="auto">
              <a:spcBef>
                <a:spcPts val="580"/>
              </a:spcBef>
              <a:spcAft>
                <a:spcPts val="0"/>
              </a:spcAft>
              <a:defRPr/>
            </a:pPr>
            <a:r>
              <a:rPr lang="en-US" sz="2800" dirty="0">
                <a:solidFill>
                  <a:schemeClr val="tx1"/>
                </a:solidFill>
              </a:rPr>
              <a:t>Master in Public Procurement for Sustainable Development </a:t>
            </a:r>
            <a:br>
              <a:rPr lang="en-US" sz="2800" dirty="0">
                <a:solidFill>
                  <a:schemeClr val="tx1"/>
                </a:solidFill>
              </a:rPr>
            </a:br>
            <a:r>
              <a:rPr lang="en-US" sz="2800" dirty="0">
                <a:solidFill>
                  <a:schemeClr val="tx1"/>
                </a:solidFill>
              </a:rPr>
              <a:t>ITC- ILO and University of Turin</a:t>
            </a:r>
            <a:endParaRPr lang="en-US" dirty="0">
              <a:solidFill>
                <a:schemeClr val="tx1"/>
              </a:solidFill>
            </a:endParaRPr>
          </a:p>
        </p:txBody>
      </p:sp>
      <p:sp>
        <p:nvSpPr>
          <p:cNvPr id="2" name="Title 1">
            <a:extLst>
              <a:ext uri="{FF2B5EF4-FFF2-40B4-BE49-F238E27FC236}">
                <a16:creationId xmlns:a16="http://schemas.microsoft.com/office/drawing/2014/main" id="{CF717DD2-1B21-4FBD-BF4B-532D41966402}"/>
              </a:ext>
            </a:extLst>
          </p:cNvPr>
          <p:cNvSpPr>
            <a:spLocks noGrp="1"/>
          </p:cNvSpPr>
          <p:nvPr>
            <p:ph type="ctrTitle"/>
          </p:nvPr>
        </p:nvSpPr>
        <p:spPr>
          <a:xfrm>
            <a:off x="457200" y="1506538"/>
            <a:ext cx="8229600" cy="1470025"/>
          </a:xfrm>
        </p:spPr>
        <p:txBody>
          <a:bodyPr>
            <a:normAutofit/>
          </a:bodyPr>
          <a:lstStyle/>
          <a:p>
            <a:pPr fontAlgn="auto">
              <a:spcAft>
                <a:spcPts val="0"/>
              </a:spcAft>
              <a:defRPr/>
            </a:pPr>
            <a:r>
              <a:rPr b="1" dirty="0">
                <a:solidFill>
                  <a:schemeClr val="bg1"/>
                </a:solidFill>
              </a:rPr>
              <a:t>An Introduction to </a:t>
            </a:r>
            <a:br>
              <a:rPr lang="en-US" b="1" dirty="0">
                <a:solidFill>
                  <a:schemeClr val="bg1"/>
                </a:solidFill>
              </a:rPr>
            </a:br>
            <a:r>
              <a:rPr b="1" dirty="0">
                <a:solidFill>
                  <a:schemeClr val="bg1"/>
                </a:solidFill>
              </a:rPr>
              <a:t>U</a:t>
            </a:r>
            <a:r>
              <a:rPr lang="en-US" b="1" dirty="0">
                <a:solidFill>
                  <a:schemeClr val="bg1"/>
                </a:solidFill>
              </a:rPr>
              <a:t>.S.</a:t>
            </a:r>
            <a:r>
              <a:rPr b="1" dirty="0">
                <a:solidFill>
                  <a:schemeClr val="bg1"/>
                </a:solidFill>
              </a:rPr>
              <a:t> Procurement</a:t>
            </a:r>
            <a:r>
              <a:rPr lang="en-US" b="1" dirty="0">
                <a:solidFill>
                  <a:schemeClr val="bg1"/>
                </a:solidFill>
              </a:rPr>
              <a:t> – Part II</a:t>
            </a:r>
            <a:endParaRPr b="1" dirty="0">
              <a:solidFill>
                <a:schemeClr val="bg1"/>
              </a:solidFill>
              <a:latin typeface="+mn-lt"/>
            </a:endParaRPr>
          </a:p>
        </p:txBody>
      </p:sp>
    </p:spTree>
    <p:extLst>
      <p:ext uri="{BB962C8B-B14F-4D97-AF65-F5344CB8AC3E}">
        <p14:creationId xmlns:p14="http://schemas.microsoft.com/office/powerpoint/2010/main" val="41914363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D37901-3580-48D1-B098-7AA13C9EBEA2}"/>
              </a:ext>
            </a:extLst>
          </p:cNvPr>
          <p:cNvSpPr>
            <a:spLocks noGrp="1"/>
          </p:cNvSpPr>
          <p:nvPr>
            <p:ph type="body" idx="1"/>
          </p:nvPr>
        </p:nvSpPr>
        <p:spPr>
          <a:xfrm>
            <a:off x="304800" y="2590800"/>
            <a:ext cx="8421688" cy="1500188"/>
          </a:xfrm>
        </p:spPr>
        <p:txBody>
          <a:bodyPr>
            <a:normAutofit/>
          </a:bodyPr>
          <a:lstStyle/>
          <a:p>
            <a:pPr fontAlgn="auto">
              <a:spcBef>
                <a:spcPts val="580"/>
              </a:spcBef>
              <a:spcAft>
                <a:spcPts val="0"/>
              </a:spcAft>
              <a:buFont typeface="Wingdings 2"/>
              <a:buNone/>
              <a:defRPr/>
            </a:pPr>
            <a:r>
              <a:rPr lang="en-US" sz="3600" b="1" dirty="0">
                <a:solidFill>
                  <a:schemeClr val="tx2"/>
                </a:solidFill>
              </a:rPr>
              <a:t>Frameworks emerged in the United States and elsewhere along parallel paths</a:t>
            </a:r>
            <a:endParaRPr lang="en-US" sz="3600" dirty="0"/>
          </a:p>
        </p:txBody>
      </p:sp>
      <p:sp>
        <p:nvSpPr>
          <p:cNvPr id="45059" name="Rounded Rectangle 4">
            <a:extLst>
              <a:ext uri="{FF2B5EF4-FFF2-40B4-BE49-F238E27FC236}">
                <a16:creationId xmlns:a16="http://schemas.microsoft.com/office/drawing/2014/main" id="{0E17CBF7-0B61-4CA4-94CD-64F2157CD147}"/>
              </a:ext>
            </a:extLst>
          </p:cNvPr>
          <p:cNvSpPr>
            <a:spLocks noChangeArrowheads="1"/>
          </p:cNvSpPr>
          <p:nvPr/>
        </p:nvSpPr>
        <p:spPr bwMode="auto">
          <a:xfrm>
            <a:off x="5334000" y="4800600"/>
            <a:ext cx="3429000" cy="762000"/>
          </a:xfrm>
          <a:prstGeom prst="roundRect">
            <a:avLst>
              <a:gd name="adj" fmla="val 16667"/>
            </a:avLst>
          </a:prstGeom>
          <a:solidFill>
            <a:srgbClr val="FF00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Supplier Lists</a:t>
            </a:r>
          </a:p>
        </p:txBody>
      </p:sp>
      <p:cxnSp>
        <p:nvCxnSpPr>
          <p:cNvPr id="45060" name="Straight Arrow Connector 6">
            <a:extLst>
              <a:ext uri="{FF2B5EF4-FFF2-40B4-BE49-F238E27FC236}">
                <a16:creationId xmlns:a16="http://schemas.microsoft.com/office/drawing/2014/main" id="{CE0C8542-0F70-4CD2-9B62-8B6C704F19DF}"/>
              </a:ext>
            </a:extLst>
          </p:cNvPr>
          <p:cNvCxnSpPr>
            <a:cxnSpLocks noChangeShapeType="1"/>
            <a:stCxn id="45059" idx="0"/>
          </p:cNvCxnSpPr>
          <p:nvPr/>
        </p:nvCxnSpPr>
        <p:spPr bwMode="auto">
          <a:xfrm rot="16200000" flipV="1">
            <a:off x="5353050" y="3105150"/>
            <a:ext cx="3352800" cy="38100"/>
          </a:xfrm>
          <a:prstGeom prst="straightConnector1">
            <a:avLst/>
          </a:prstGeom>
          <a:noFill/>
          <a:ln w="9525" algn="ctr">
            <a:solidFill>
              <a:schemeClr val="tx1"/>
            </a:solidFill>
            <a:prstDash val="dash"/>
            <a:round/>
            <a:headEnd/>
            <a:tailEnd type="arrow" w="med" len="med"/>
          </a:ln>
          <a:extLst>
            <a:ext uri="{909E8E84-426E-40DD-AFC4-6F175D3DCCD1}">
              <a14:hiddenFill xmlns:a14="http://schemas.microsoft.com/office/drawing/2010/main">
                <a:noFill/>
              </a14:hiddenFill>
            </a:ext>
          </a:extLst>
        </p:spPr>
      </p:cxnSp>
      <p:sp>
        <p:nvSpPr>
          <p:cNvPr id="45061" name="Oval 7">
            <a:extLst>
              <a:ext uri="{FF2B5EF4-FFF2-40B4-BE49-F238E27FC236}">
                <a16:creationId xmlns:a16="http://schemas.microsoft.com/office/drawing/2014/main" id="{5D98A031-6A50-4C2E-ABA7-7351A343DF13}"/>
              </a:ext>
            </a:extLst>
          </p:cNvPr>
          <p:cNvSpPr>
            <a:spLocks noChangeArrowheads="1"/>
          </p:cNvSpPr>
          <p:nvPr/>
        </p:nvSpPr>
        <p:spPr bwMode="auto">
          <a:xfrm>
            <a:off x="5029200" y="685800"/>
            <a:ext cx="3962400" cy="914400"/>
          </a:xfrm>
          <a:prstGeom prst="ellipse">
            <a:avLst/>
          </a:prstGeom>
          <a:solidFill>
            <a:srgbClr val="00B05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Frameworks</a:t>
            </a: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13" descr="Contract Data Requirements List">
            <a:extLst>
              <a:ext uri="{FF2B5EF4-FFF2-40B4-BE49-F238E27FC236}">
                <a16:creationId xmlns:a16="http://schemas.microsoft.com/office/drawing/2014/main" id="{9D2EEE4D-993F-4697-AC41-38734C04C0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655763" cy="245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4">
            <a:extLst>
              <a:ext uri="{FF2B5EF4-FFF2-40B4-BE49-F238E27FC236}">
                <a16:creationId xmlns:a16="http://schemas.microsoft.com/office/drawing/2014/main" id="{7965654A-2B1E-4397-BF96-BCFCA20719B3}"/>
              </a:ext>
            </a:extLst>
          </p:cNvPr>
          <p:cNvSpPr txBox="1">
            <a:spLocks noChangeArrowheads="1"/>
          </p:cNvSpPr>
          <p:nvPr/>
        </p:nvSpPr>
        <p:spPr bwMode="auto">
          <a:xfrm>
            <a:off x="1828800" y="349250"/>
            <a:ext cx="4724400" cy="1754188"/>
          </a:xfrm>
          <a:prstGeom prst="rect">
            <a:avLst/>
          </a:prstGeom>
          <a:noFill/>
          <a:ln w="12700" cap="sq">
            <a:noFill/>
            <a:miter lim="800000"/>
            <a:headEnd type="none" w="sm" len="sm"/>
            <a:tailEnd type="none" w="sm" len="sm"/>
          </a:ln>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5400" b="1" i="0" u="none" strike="noStrike" kern="1200" cap="none" spc="0" normalizeH="0" baseline="0" noProof="0" dirty="0">
                <a:ln>
                  <a:noFill/>
                </a:ln>
                <a:solidFill>
                  <a:srgbClr val="FFCC00"/>
                </a:solidFill>
                <a:effectLst>
                  <a:outerShdw blurRad="38100" dist="38100" dir="2700000" algn="tl">
                    <a:srgbClr val="000000"/>
                  </a:outerShdw>
                </a:effectLst>
                <a:uLnTx/>
                <a:uFillTx/>
                <a:latin typeface="Times New Roman" pitchFamily="18" charset="0"/>
                <a:ea typeface="+mn-ea"/>
                <a:cs typeface="Arial" panose="020B0604020202020204" pitchFamily="34" charset="0"/>
              </a:rPr>
              <a:t>Frameworks:  Sample</a:t>
            </a:r>
          </a:p>
        </p:txBody>
      </p:sp>
      <p:graphicFrame>
        <p:nvGraphicFramePr>
          <p:cNvPr id="7" name="Table 6">
            <a:extLst>
              <a:ext uri="{FF2B5EF4-FFF2-40B4-BE49-F238E27FC236}">
                <a16:creationId xmlns:a16="http://schemas.microsoft.com/office/drawing/2014/main" id="{4EFD7D88-55D6-4E3B-807D-0B25400CC59D}"/>
              </a:ext>
            </a:extLst>
          </p:cNvPr>
          <p:cNvGraphicFramePr>
            <a:graphicFrameLocks noGrp="1"/>
          </p:cNvGraphicFramePr>
          <p:nvPr/>
        </p:nvGraphicFramePr>
        <p:xfrm>
          <a:off x="0" y="2514600"/>
          <a:ext cx="8639175" cy="3205246"/>
        </p:xfrm>
        <a:graphic>
          <a:graphicData uri="http://schemas.openxmlformats.org/drawingml/2006/table">
            <a:tbl>
              <a:tblPr firstRow="1" bandRow="1">
                <a:tableStyleId>{5C22544A-7EE6-4342-B048-85BDC9FD1C3A}</a:tableStyleId>
              </a:tblPr>
              <a:tblGrid>
                <a:gridCol w="2895703">
                  <a:extLst>
                    <a:ext uri="{9D8B030D-6E8A-4147-A177-3AD203B41FA5}">
                      <a16:colId xmlns:a16="http://schemas.microsoft.com/office/drawing/2014/main" val="20000"/>
                    </a:ext>
                  </a:extLst>
                </a:gridCol>
                <a:gridCol w="1676460">
                  <a:extLst>
                    <a:ext uri="{9D8B030D-6E8A-4147-A177-3AD203B41FA5}">
                      <a16:colId xmlns:a16="http://schemas.microsoft.com/office/drawing/2014/main" val="20001"/>
                    </a:ext>
                  </a:extLst>
                </a:gridCol>
                <a:gridCol w="2286081">
                  <a:extLst>
                    <a:ext uri="{9D8B030D-6E8A-4147-A177-3AD203B41FA5}">
                      <a16:colId xmlns:a16="http://schemas.microsoft.com/office/drawing/2014/main" val="20002"/>
                    </a:ext>
                  </a:extLst>
                </a:gridCol>
                <a:gridCol w="1780931">
                  <a:extLst>
                    <a:ext uri="{9D8B030D-6E8A-4147-A177-3AD203B41FA5}">
                      <a16:colId xmlns:a16="http://schemas.microsoft.com/office/drawing/2014/main" val="20003"/>
                    </a:ext>
                  </a:extLst>
                </a:gridCol>
              </a:tblGrid>
              <a:tr h="370784">
                <a:tc>
                  <a:txBody>
                    <a:bodyPr/>
                    <a:lstStyle/>
                    <a:p>
                      <a:endParaRPr lang="en-US" sz="1800" dirty="0"/>
                    </a:p>
                  </a:txBody>
                  <a:tcPr marL="91443" marR="91443" marT="45713" marB="45713"/>
                </a:tc>
                <a:tc>
                  <a:txBody>
                    <a:bodyPr/>
                    <a:lstStyle/>
                    <a:p>
                      <a:r>
                        <a:rPr lang="en-US" sz="1800" dirty="0"/>
                        <a:t>A</a:t>
                      </a:r>
                    </a:p>
                  </a:txBody>
                  <a:tcPr marL="91443" marR="91443" marT="45713" marB="45713"/>
                </a:tc>
                <a:tc>
                  <a:txBody>
                    <a:bodyPr/>
                    <a:lstStyle/>
                    <a:p>
                      <a:r>
                        <a:rPr lang="en-US" sz="1800" dirty="0"/>
                        <a:t>B</a:t>
                      </a:r>
                    </a:p>
                  </a:txBody>
                  <a:tcPr marL="91443" marR="91443" marT="45713" marB="45713"/>
                </a:tc>
                <a:tc>
                  <a:txBody>
                    <a:bodyPr/>
                    <a:lstStyle/>
                    <a:p>
                      <a:r>
                        <a:rPr lang="en-US" sz="1800" dirty="0"/>
                        <a:t>C</a:t>
                      </a:r>
                    </a:p>
                  </a:txBody>
                  <a:tcPr marL="91443" marR="91443" marT="45713" marB="45713"/>
                </a:tc>
                <a:extLst>
                  <a:ext uri="{0D108BD9-81ED-4DB2-BD59-A6C34878D82A}">
                    <a16:rowId xmlns:a16="http://schemas.microsoft.com/office/drawing/2014/main" val="10000"/>
                  </a:ext>
                </a:extLst>
              </a:tr>
              <a:tr h="640038">
                <a:tc>
                  <a:txBody>
                    <a:bodyPr/>
                    <a:lstStyle/>
                    <a:p>
                      <a:r>
                        <a:rPr lang="en-US" sz="1800" b="1" dirty="0"/>
                        <a:t>FRAMEWORK</a:t>
                      </a:r>
                      <a:r>
                        <a:rPr lang="en-US" sz="1800" b="1" baseline="0" dirty="0"/>
                        <a:t> AWARD </a:t>
                      </a:r>
                    </a:p>
                    <a:p>
                      <a:r>
                        <a:rPr lang="en-US" sz="1800" b="1" baseline="0" dirty="0"/>
                        <a:t>PRICE – PER UNIT</a:t>
                      </a:r>
                      <a:endParaRPr lang="en-US" sz="1800" b="1" dirty="0"/>
                    </a:p>
                  </a:txBody>
                  <a:tcPr marL="91443" marR="91443" marT="45713" marB="45713"/>
                </a:tc>
                <a:tc>
                  <a:txBody>
                    <a:bodyPr/>
                    <a:lstStyle/>
                    <a:p>
                      <a:r>
                        <a:rPr lang="en-US" sz="1800" b="1" dirty="0"/>
                        <a:t>US$1000</a:t>
                      </a:r>
                    </a:p>
                  </a:txBody>
                  <a:tcPr marL="91443" marR="91443" marT="45713" marB="45713"/>
                </a:tc>
                <a:tc>
                  <a:txBody>
                    <a:bodyPr/>
                    <a:lstStyle/>
                    <a:p>
                      <a:r>
                        <a:rPr lang="en-US" sz="1800" b="1" dirty="0"/>
                        <a:t>US$600</a:t>
                      </a:r>
                    </a:p>
                  </a:txBody>
                  <a:tcPr marL="91443" marR="91443" marT="45713" marB="45713"/>
                </a:tc>
                <a:tc>
                  <a:txBody>
                    <a:bodyPr/>
                    <a:lstStyle/>
                    <a:p>
                      <a:r>
                        <a:rPr lang="en-US" sz="1800" b="1" dirty="0"/>
                        <a:t>US$1500</a:t>
                      </a:r>
                    </a:p>
                  </a:txBody>
                  <a:tcPr marL="91443" marR="91443" marT="45713" marB="45713"/>
                </a:tc>
                <a:extLst>
                  <a:ext uri="{0D108BD9-81ED-4DB2-BD59-A6C34878D82A}">
                    <a16:rowId xmlns:a16="http://schemas.microsoft.com/office/drawing/2014/main" val="10001"/>
                  </a:ext>
                </a:extLst>
              </a:tr>
              <a:tr h="640038">
                <a:tc>
                  <a:txBody>
                    <a:bodyPr/>
                    <a:lstStyle/>
                    <a:p>
                      <a:r>
                        <a:rPr lang="en-US" sz="1800" dirty="0"/>
                        <a:t>JANUARY </a:t>
                      </a:r>
                    </a:p>
                    <a:p>
                      <a:r>
                        <a:rPr lang="en-US" sz="1800" dirty="0"/>
                        <a:t>(NASA:  500</a:t>
                      </a:r>
                      <a:r>
                        <a:rPr lang="en-US" sz="1800" baseline="0" dirty="0"/>
                        <a:t> UNITS</a:t>
                      </a:r>
                      <a:r>
                        <a:rPr lang="en-US" sz="1800" dirty="0"/>
                        <a:t>)</a:t>
                      </a:r>
                    </a:p>
                  </a:txBody>
                  <a:tcPr marL="91443" marR="91443" marT="45713" marB="45713"/>
                </a:tc>
                <a:tc>
                  <a:txBody>
                    <a:bodyPr/>
                    <a:lstStyle/>
                    <a:p>
                      <a:r>
                        <a:rPr lang="en-US" sz="1800" dirty="0"/>
                        <a:t>US$900</a:t>
                      </a:r>
                    </a:p>
                  </a:txBody>
                  <a:tcPr marL="91443" marR="91443" marT="45713" marB="45713"/>
                </a:tc>
                <a:tc>
                  <a:txBody>
                    <a:bodyPr/>
                    <a:lstStyle/>
                    <a:p>
                      <a:r>
                        <a:rPr lang="en-US" sz="1800" dirty="0"/>
                        <a:t>US$600</a:t>
                      </a:r>
                    </a:p>
                  </a:txBody>
                  <a:tcPr marL="91443" marR="91443" marT="45713" marB="45713"/>
                </a:tc>
                <a:tc>
                  <a:txBody>
                    <a:bodyPr/>
                    <a:lstStyle/>
                    <a:p>
                      <a:endParaRPr lang="en-US" sz="1800" dirty="0"/>
                    </a:p>
                  </a:txBody>
                  <a:tcPr marL="91443" marR="91443" marT="45713" marB="45713"/>
                </a:tc>
                <a:extLst>
                  <a:ext uri="{0D108BD9-81ED-4DB2-BD59-A6C34878D82A}">
                    <a16:rowId xmlns:a16="http://schemas.microsoft.com/office/drawing/2014/main" val="10002"/>
                  </a:ext>
                </a:extLst>
              </a:tr>
              <a:tr h="640038">
                <a:tc>
                  <a:txBody>
                    <a:bodyPr/>
                    <a:lstStyle/>
                    <a:p>
                      <a:r>
                        <a:rPr lang="en-US" sz="1800" dirty="0"/>
                        <a:t>APRIL ORDER </a:t>
                      </a:r>
                    </a:p>
                    <a:p>
                      <a:r>
                        <a:rPr lang="en-US" sz="1800" dirty="0"/>
                        <a:t>(ARMY:  1000 UNITS )</a:t>
                      </a:r>
                    </a:p>
                  </a:txBody>
                  <a:tcPr marL="91443" marR="91443" marT="45713" marB="45713"/>
                </a:tc>
                <a:tc>
                  <a:txBody>
                    <a:bodyPr/>
                    <a:lstStyle/>
                    <a:p>
                      <a:r>
                        <a:rPr lang="en-US" sz="1800" dirty="0"/>
                        <a:t>US$800</a:t>
                      </a:r>
                    </a:p>
                  </a:txBody>
                  <a:tcPr marL="91443" marR="91443" marT="45713" marB="45713"/>
                </a:tc>
                <a:tc>
                  <a:txBody>
                    <a:bodyPr/>
                    <a:lstStyle/>
                    <a:p>
                      <a:r>
                        <a:rPr lang="en-US" sz="1800" dirty="0"/>
                        <a:t>US$550</a:t>
                      </a:r>
                    </a:p>
                  </a:txBody>
                  <a:tcPr marL="91443" marR="91443" marT="45713" marB="45713"/>
                </a:tc>
                <a:tc>
                  <a:txBody>
                    <a:bodyPr/>
                    <a:lstStyle/>
                    <a:p>
                      <a:endParaRPr lang="en-US" sz="1800" dirty="0"/>
                    </a:p>
                  </a:txBody>
                  <a:tcPr marL="91443" marR="91443" marT="45713" marB="45713"/>
                </a:tc>
                <a:extLst>
                  <a:ext uri="{0D108BD9-81ED-4DB2-BD59-A6C34878D82A}">
                    <a16:rowId xmlns:a16="http://schemas.microsoft.com/office/drawing/2014/main" val="10003"/>
                  </a:ext>
                </a:extLst>
              </a:tr>
              <a:tr h="914264">
                <a:tc>
                  <a:txBody>
                    <a:bodyPr/>
                    <a:lstStyle/>
                    <a:p>
                      <a:r>
                        <a:rPr lang="en-US" sz="1800" dirty="0"/>
                        <a:t>DECEMBER ORDER </a:t>
                      </a:r>
                    </a:p>
                    <a:p>
                      <a:r>
                        <a:rPr lang="en-US" sz="1800" dirty="0"/>
                        <a:t>(NAVY:  2000</a:t>
                      </a:r>
                      <a:r>
                        <a:rPr lang="en-US" sz="1800" baseline="0" dirty="0"/>
                        <a:t> UNITS</a:t>
                      </a:r>
                      <a:r>
                        <a:rPr lang="en-US" sz="1800" dirty="0"/>
                        <a:t>)</a:t>
                      </a:r>
                    </a:p>
                  </a:txBody>
                  <a:tcPr marL="91443" marR="91443" marT="45713" marB="45713"/>
                </a:tc>
                <a:tc>
                  <a:txBody>
                    <a:bodyPr/>
                    <a:lstStyle/>
                    <a:p>
                      <a:r>
                        <a:rPr lang="en-US" sz="1800" dirty="0"/>
                        <a:t>US$550</a:t>
                      </a:r>
                    </a:p>
                  </a:txBody>
                  <a:tcPr marL="91443" marR="91443" marT="45713" marB="45713"/>
                </a:tc>
                <a:tc>
                  <a:txBody>
                    <a:bodyPr/>
                    <a:lstStyle/>
                    <a:p>
                      <a:r>
                        <a:rPr lang="en-US" sz="1800" dirty="0"/>
                        <a:t>US$550</a:t>
                      </a:r>
                    </a:p>
                  </a:txBody>
                  <a:tcPr marL="91443" marR="91443" marT="45713" marB="45713"/>
                </a:tc>
                <a:tc>
                  <a:txBody>
                    <a:bodyPr/>
                    <a:lstStyle/>
                    <a:p>
                      <a:endParaRPr lang="en-US" sz="1800" dirty="0"/>
                    </a:p>
                  </a:txBody>
                  <a:tcPr marL="91443" marR="91443" marT="45713" marB="45713"/>
                </a:tc>
                <a:extLst>
                  <a:ext uri="{0D108BD9-81ED-4DB2-BD59-A6C34878D82A}">
                    <a16:rowId xmlns:a16="http://schemas.microsoft.com/office/drawing/2014/main" val="10004"/>
                  </a:ext>
                </a:extLst>
              </a:tr>
            </a:tbl>
          </a:graphicData>
        </a:graphic>
      </p:graphicFrame>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C0D46-F911-4015-8F2D-8E74F03598ED}"/>
              </a:ext>
            </a:extLst>
          </p:cNvPr>
          <p:cNvSpPr>
            <a:spLocks noGrp="1"/>
          </p:cNvSpPr>
          <p:nvPr>
            <p:ph type="title"/>
          </p:nvPr>
        </p:nvSpPr>
        <p:spPr/>
        <p:txBody>
          <a:bodyPr>
            <a:normAutofit fontScale="90000"/>
          </a:bodyPr>
          <a:lstStyle/>
          <a:p>
            <a:pPr fontAlgn="auto">
              <a:spcAft>
                <a:spcPts val="0"/>
              </a:spcAft>
              <a:defRPr/>
            </a:pPr>
            <a:r>
              <a:rPr lang="en-US" dirty="0">
                <a:solidFill>
                  <a:schemeClr val="tx1"/>
                </a:solidFill>
              </a:rPr>
              <a:t>Problems in U.S. Frameworks: 1990s</a:t>
            </a:r>
          </a:p>
        </p:txBody>
      </p:sp>
      <p:graphicFrame>
        <p:nvGraphicFramePr>
          <p:cNvPr id="5" name="Diagram 4">
            <a:extLst>
              <a:ext uri="{FF2B5EF4-FFF2-40B4-BE49-F238E27FC236}">
                <a16:creationId xmlns:a16="http://schemas.microsoft.com/office/drawing/2014/main" id="{118D1C00-B453-45F9-9459-6C38A49C5239}"/>
              </a:ext>
            </a:extLst>
          </p:cNvPr>
          <p:cNvGraphicFramePr/>
          <p:nvPr/>
        </p:nvGraphicFramePr>
        <p:xfrm>
          <a:off x="304800" y="1143000"/>
          <a:ext cx="8458200" cy="5562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a:extLst>
              <a:ext uri="{FF2B5EF4-FFF2-40B4-BE49-F238E27FC236}">
                <a16:creationId xmlns:a16="http://schemas.microsoft.com/office/drawing/2014/main" id="{D43F9428-51E1-425C-BE1E-AEC34FF3DB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1" name="Title 6">
            <a:extLst>
              <a:ext uri="{FF2B5EF4-FFF2-40B4-BE49-F238E27FC236}">
                <a16:creationId xmlns:a16="http://schemas.microsoft.com/office/drawing/2014/main" id="{2BD50BEF-3239-420E-AEA2-E6CB502122C0}"/>
              </a:ext>
            </a:extLst>
          </p:cNvPr>
          <p:cNvSpPr>
            <a:spLocks noGrp="1"/>
          </p:cNvSpPr>
          <p:nvPr>
            <p:ph type="title"/>
          </p:nvPr>
        </p:nvSpPr>
        <p:spPr>
          <a:xfrm>
            <a:off x="-5334000" y="228600"/>
            <a:ext cx="8229600" cy="1143000"/>
          </a:xfrm>
        </p:spPr>
        <p:txBody>
          <a:bodyPr/>
          <a:lstStyle/>
          <a:p>
            <a:pPr algn="r"/>
            <a:r>
              <a:rPr lang="en-US" altLang="en-US">
                <a:solidFill>
                  <a:schemeClr val="tx1"/>
                </a:solidFill>
              </a:rPr>
              <a:t>Scandals</a:t>
            </a: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154" name="Group 4">
            <a:extLst>
              <a:ext uri="{FF2B5EF4-FFF2-40B4-BE49-F238E27FC236}">
                <a16:creationId xmlns:a16="http://schemas.microsoft.com/office/drawing/2014/main" id="{B0E85ACC-11BD-41D4-AB78-583F5A9CF8ED}"/>
              </a:ext>
            </a:extLst>
          </p:cNvPr>
          <p:cNvGrpSpPr>
            <a:grpSpLocks/>
          </p:cNvGrpSpPr>
          <p:nvPr/>
        </p:nvGrpSpPr>
        <p:grpSpPr bwMode="auto">
          <a:xfrm>
            <a:off x="161925" y="533400"/>
            <a:ext cx="8815388" cy="6075363"/>
            <a:chOff x="0" y="533400"/>
            <a:chExt cx="9144000" cy="6075218"/>
          </a:xfrm>
        </p:grpSpPr>
        <p:pic>
          <p:nvPicPr>
            <p:cNvPr id="49158" name="Picture 2">
              <a:extLst>
                <a:ext uri="{FF2B5EF4-FFF2-40B4-BE49-F238E27FC236}">
                  <a16:creationId xmlns:a16="http://schemas.microsoft.com/office/drawing/2014/main" id="{7BFFBC57-3A08-4DD4-A52B-E50B27DC4F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3400"/>
              <a:ext cx="9144000" cy="4364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9" name="Picture 4">
              <a:extLst>
                <a:ext uri="{FF2B5EF4-FFF2-40B4-BE49-F238E27FC236}">
                  <a16:creationId xmlns:a16="http://schemas.microsoft.com/office/drawing/2014/main" id="{E072CC40-09F3-4978-810D-E2D6D4A520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8457" y="4921135"/>
              <a:ext cx="1570376" cy="159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0" name="TextBox 7">
              <a:extLst>
                <a:ext uri="{FF2B5EF4-FFF2-40B4-BE49-F238E27FC236}">
                  <a16:creationId xmlns:a16="http://schemas.microsoft.com/office/drawing/2014/main" id="{89409334-C3C7-4DF1-B828-79B7FE4F1BED}"/>
                </a:ext>
              </a:extLst>
            </p:cNvPr>
            <p:cNvSpPr txBox="1">
              <a:spLocks noChangeArrowheads="1"/>
            </p:cNvSpPr>
            <p:nvPr/>
          </p:nvSpPr>
          <p:spPr bwMode="auto">
            <a:xfrm>
              <a:off x="4064467" y="5962287"/>
              <a:ext cx="2580967" cy="64633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err="1">
                  <a:ln>
                    <a:noFill/>
                  </a:ln>
                  <a:solidFill>
                    <a:srgbClr val="000000"/>
                  </a:solidFill>
                  <a:effectLst/>
                  <a:uLnTx/>
                  <a:uFillTx/>
                  <a:latin typeface="Perpetua" panose="02020502060401020303" pitchFamily="18" charset="0"/>
                  <a:ea typeface="+mn-ea"/>
                  <a:cs typeface="Arial" panose="020B0604020202020204" pitchFamily="34" charset="0"/>
                </a:rPr>
                <a:t>Umer</a:t>
              </a:r>
              <a:r>
                <a:rPr kumimoji="0" lang="en-US" altLang="en-US" sz="1800" b="1" i="0" u="none" strike="noStrike" kern="1200" cap="none" spc="0" normalizeH="0" baseline="0" noProof="0" dirty="0">
                  <a:ln>
                    <a:noFill/>
                  </a:ln>
                  <a:solidFill>
                    <a:srgbClr val="000000"/>
                  </a:solidFill>
                  <a:effectLst/>
                  <a:uLnTx/>
                  <a:uFillTx/>
                  <a:latin typeface="Perpetua" panose="02020502060401020303" pitchFamily="18" charset="0"/>
                  <a:ea typeface="+mn-ea"/>
                  <a:cs typeface="Arial" panose="020B0604020202020204" pitchFamily="34" charset="0"/>
                </a:rPr>
                <a:t> Chaudhr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Perpetua" panose="02020502060401020303" pitchFamily="18" charset="0"/>
                  <a:ea typeface="+mn-ea"/>
                  <a:cs typeface="Arial" panose="020B0604020202020204" pitchFamily="34" charset="0"/>
                </a:rPr>
                <a:t>GWU Law Student</a:t>
              </a:r>
            </a:p>
          </p:txBody>
        </p:sp>
      </p:grpSp>
      <p:sp>
        <p:nvSpPr>
          <p:cNvPr id="7" name="Right Arrow 6">
            <a:extLst>
              <a:ext uri="{FF2B5EF4-FFF2-40B4-BE49-F238E27FC236}">
                <a16:creationId xmlns:a16="http://schemas.microsoft.com/office/drawing/2014/main" id="{6408D59C-B94D-41C8-8A0D-5762F89C9217}"/>
              </a:ext>
            </a:extLst>
          </p:cNvPr>
          <p:cNvSpPr/>
          <p:nvPr/>
        </p:nvSpPr>
        <p:spPr>
          <a:xfrm>
            <a:off x="3017838" y="881063"/>
            <a:ext cx="398462" cy="30003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erpetua"/>
              <a:ea typeface="+mn-ea"/>
              <a:cs typeface="+mn-cs"/>
            </a:endParaRPr>
          </a:p>
        </p:txBody>
      </p:sp>
      <p:sp>
        <p:nvSpPr>
          <p:cNvPr id="8" name="Right Arrow 7">
            <a:extLst>
              <a:ext uri="{FF2B5EF4-FFF2-40B4-BE49-F238E27FC236}">
                <a16:creationId xmlns:a16="http://schemas.microsoft.com/office/drawing/2014/main" id="{71AAF387-FEC2-4FBF-A44E-BDDC32349B42}"/>
              </a:ext>
            </a:extLst>
          </p:cNvPr>
          <p:cNvSpPr/>
          <p:nvPr/>
        </p:nvSpPr>
        <p:spPr>
          <a:xfrm>
            <a:off x="3057525" y="2546350"/>
            <a:ext cx="398463" cy="300038"/>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erpetua"/>
              <a:ea typeface="+mn-ea"/>
              <a:cs typeface="+mn-cs"/>
            </a:endParaRPr>
          </a:p>
        </p:txBody>
      </p:sp>
      <p:sp>
        <p:nvSpPr>
          <p:cNvPr id="9" name="Right Arrow 8">
            <a:extLst>
              <a:ext uri="{FF2B5EF4-FFF2-40B4-BE49-F238E27FC236}">
                <a16:creationId xmlns:a16="http://schemas.microsoft.com/office/drawing/2014/main" id="{75FEECE6-2B5C-4E34-A618-995909D48C39}"/>
              </a:ext>
            </a:extLst>
          </p:cNvPr>
          <p:cNvSpPr/>
          <p:nvPr/>
        </p:nvSpPr>
        <p:spPr>
          <a:xfrm>
            <a:off x="3017838" y="1522413"/>
            <a:ext cx="398462" cy="298450"/>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erpetua"/>
              <a:ea typeface="+mn-ea"/>
              <a:cs typeface="+mn-cs"/>
            </a:endParaRP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087F0-610B-420A-9089-5F25A0B43AD9}"/>
              </a:ext>
            </a:extLst>
          </p:cNvPr>
          <p:cNvSpPr>
            <a:spLocks noGrp="1"/>
          </p:cNvSpPr>
          <p:nvPr>
            <p:ph type="title"/>
          </p:nvPr>
        </p:nvSpPr>
        <p:spPr/>
        <p:txBody>
          <a:bodyPr>
            <a:normAutofit fontScale="90000"/>
          </a:bodyPr>
          <a:lstStyle/>
          <a:p>
            <a:pPr fontAlgn="auto">
              <a:spcAft>
                <a:spcPts val="0"/>
              </a:spcAft>
              <a:defRPr/>
            </a:pPr>
            <a:r>
              <a:rPr lang="en-US" dirty="0"/>
              <a:t>EU uses same methods – but in a different historical progression</a:t>
            </a:r>
          </a:p>
        </p:txBody>
      </p:sp>
      <p:grpSp>
        <p:nvGrpSpPr>
          <p:cNvPr id="50179" name="Group 2">
            <a:extLst>
              <a:ext uri="{FF2B5EF4-FFF2-40B4-BE49-F238E27FC236}">
                <a16:creationId xmlns:a16="http://schemas.microsoft.com/office/drawing/2014/main" id="{8D080A5B-E03B-433F-9912-2B170642C8E5}"/>
              </a:ext>
            </a:extLst>
          </p:cNvPr>
          <p:cNvGrpSpPr>
            <a:grpSpLocks/>
          </p:cNvGrpSpPr>
          <p:nvPr/>
        </p:nvGrpSpPr>
        <p:grpSpPr bwMode="auto">
          <a:xfrm>
            <a:off x="76200" y="1897063"/>
            <a:ext cx="8915400" cy="2736850"/>
            <a:chOff x="0" y="1905000"/>
            <a:chExt cx="8915400" cy="2736731"/>
          </a:xfrm>
        </p:grpSpPr>
        <p:pic>
          <p:nvPicPr>
            <p:cNvPr id="50184" name="Picture 2">
              <a:extLst>
                <a:ext uri="{FF2B5EF4-FFF2-40B4-BE49-F238E27FC236}">
                  <a16:creationId xmlns:a16="http://schemas.microsoft.com/office/drawing/2014/main" id="{24C8EDBE-D052-45CC-A885-E250648D7E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62200"/>
              <a:ext cx="1409699" cy="1127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a:extLst>
                <a:ext uri="{FF2B5EF4-FFF2-40B4-BE49-F238E27FC236}">
                  <a16:creationId xmlns:a16="http://schemas.microsoft.com/office/drawing/2014/main" id="{92E852EC-8FF1-4FB2-B0AA-44631F423ADF}"/>
                </a:ext>
              </a:extLst>
            </p:cNvPr>
            <p:cNvSpPr txBox="1">
              <a:spLocks noChangeArrowheads="1"/>
            </p:cNvSpPr>
            <p:nvPr/>
          </p:nvSpPr>
          <p:spPr bwMode="auto">
            <a:xfrm>
              <a:off x="2057400" y="3809917"/>
              <a:ext cx="2133600" cy="460355"/>
            </a:xfrm>
            <a:prstGeom prst="rect">
              <a:avLst/>
            </a:prstGeom>
            <a:noFill/>
            <a:ln w="12700" cap="sq">
              <a:noFill/>
              <a:miter lim="800000"/>
              <a:headEnd type="none" w="sm" len="sm"/>
              <a:tailEnd type="none" w="sm" len="sm"/>
            </a:ln>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E5E5FF"/>
                  </a:solidFill>
                  <a:effectLst>
                    <a:outerShdw blurRad="38100" dist="38100" dir="2700000" algn="tl">
                      <a:srgbClr val="000000"/>
                    </a:outerShdw>
                  </a:effectLst>
                  <a:uLnTx/>
                  <a:uFillTx/>
                  <a:latin typeface="Times New Roman" pitchFamily="18" charset="0"/>
                  <a:ea typeface="+mn-ea"/>
                  <a:cs typeface="Arial" panose="020B0604020202020204" pitchFamily="34" charset="0"/>
                </a:rPr>
                <a:t>Sealed Bids</a:t>
              </a:r>
            </a:p>
          </p:txBody>
        </p:sp>
        <p:pic>
          <p:nvPicPr>
            <p:cNvPr id="50186" name="Picture 11">
              <a:hlinkClick r:id="rId3"/>
              <a:extLst>
                <a:ext uri="{FF2B5EF4-FFF2-40B4-BE49-F238E27FC236}">
                  <a16:creationId xmlns:a16="http://schemas.microsoft.com/office/drawing/2014/main" id="{90A0A63F-7613-412D-B98A-BE7E29E5D5E9}"/>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46482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2">
              <a:extLst>
                <a:ext uri="{FF2B5EF4-FFF2-40B4-BE49-F238E27FC236}">
                  <a16:creationId xmlns:a16="http://schemas.microsoft.com/office/drawing/2014/main" id="{DF5B2877-7B08-4A91-B1B3-C2106504016B}"/>
                </a:ext>
              </a:extLst>
            </p:cNvPr>
            <p:cNvSpPr txBox="1">
              <a:spLocks noChangeArrowheads="1"/>
            </p:cNvSpPr>
            <p:nvPr/>
          </p:nvSpPr>
          <p:spPr bwMode="auto">
            <a:xfrm>
              <a:off x="4267200" y="3809917"/>
              <a:ext cx="3124200" cy="831814"/>
            </a:xfrm>
            <a:prstGeom prst="rect">
              <a:avLst/>
            </a:prstGeom>
            <a:noFill/>
            <a:ln w="12700" cap="sq">
              <a:noFill/>
              <a:miter lim="800000"/>
              <a:headEnd type="none" w="sm" len="sm"/>
              <a:tailEnd type="none" w="sm" len="sm"/>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AAEF6B"/>
                  </a:solidFill>
                  <a:effectLst>
                    <a:outerShdw blurRad="38100" dist="38100" dir="2700000" algn="tl">
                      <a:srgbClr val="000000"/>
                    </a:outerShdw>
                  </a:effectLst>
                  <a:uLnTx/>
                  <a:uFillTx/>
                  <a:latin typeface="Times New Roman" pitchFamily="18" charset="0"/>
                  <a:ea typeface="+mn-ea"/>
                  <a:cs typeface="Arial" panose="020B0604020202020204" pitchFamily="34" charset="0"/>
                </a:rPr>
                <a:t>Negotiated Procurements</a:t>
              </a:r>
            </a:p>
          </p:txBody>
        </p:sp>
        <p:pic>
          <p:nvPicPr>
            <p:cNvPr id="50188" name="Picture 13" descr="Contract Data Requirements List">
              <a:extLst>
                <a:ext uri="{FF2B5EF4-FFF2-40B4-BE49-F238E27FC236}">
                  <a16:creationId xmlns:a16="http://schemas.microsoft.com/office/drawing/2014/main" id="{3E96E314-B11F-4D99-96C0-2986121BDB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7600" y="1905000"/>
              <a:ext cx="138906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4">
              <a:extLst>
                <a:ext uri="{FF2B5EF4-FFF2-40B4-BE49-F238E27FC236}">
                  <a16:creationId xmlns:a16="http://schemas.microsoft.com/office/drawing/2014/main" id="{D5148364-E98E-4839-AD2C-6AB7D5978927}"/>
                </a:ext>
              </a:extLst>
            </p:cNvPr>
            <p:cNvSpPr txBox="1">
              <a:spLocks noChangeArrowheads="1"/>
            </p:cNvSpPr>
            <p:nvPr/>
          </p:nvSpPr>
          <p:spPr bwMode="auto">
            <a:xfrm>
              <a:off x="6019800" y="4038507"/>
              <a:ext cx="2895600" cy="461942"/>
            </a:xfrm>
            <a:prstGeom prst="rect">
              <a:avLst/>
            </a:prstGeom>
            <a:noFill/>
            <a:ln w="12700" cap="sq">
              <a:noFill/>
              <a:miter lim="800000"/>
              <a:headEnd type="none" w="sm" len="sm"/>
              <a:tailEnd type="none" w="sm" len="sm"/>
            </a:ln>
            <a:effectLst/>
          </p:spPr>
          <p:txBody>
            <a:bodyPr>
              <a:spAutoFit/>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FFCC00"/>
                  </a:solidFill>
                  <a:effectLst>
                    <a:outerShdw blurRad="38100" dist="38100" dir="2700000" algn="tl">
                      <a:srgbClr val="000000"/>
                    </a:outerShdw>
                  </a:effectLst>
                  <a:uLnTx/>
                  <a:uFillTx/>
                  <a:latin typeface="Times New Roman" pitchFamily="18" charset="0"/>
                  <a:ea typeface="+mn-ea"/>
                  <a:cs typeface="Arial" panose="020B0604020202020204" pitchFamily="34" charset="0"/>
                </a:rPr>
                <a:t>Frameworks</a:t>
              </a:r>
            </a:p>
          </p:txBody>
        </p:sp>
        <p:pic>
          <p:nvPicPr>
            <p:cNvPr id="50190" name="Picture 18" descr="UW Sealed Bid Sales Information">
              <a:hlinkClick r:id="rId7"/>
              <a:extLst>
                <a:ext uri="{FF2B5EF4-FFF2-40B4-BE49-F238E27FC236}">
                  <a16:creationId xmlns:a16="http://schemas.microsoft.com/office/drawing/2014/main" id="{EEEF8D12-20B7-4EEB-8E64-879F020E23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7400" y="2209800"/>
              <a:ext cx="1828800"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91" name="AutoShape 19">
              <a:extLst>
                <a:ext uri="{FF2B5EF4-FFF2-40B4-BE49-F238E27FC236}">
                  <a16:creationId xmlns:a16="http://schemas.microsoft.com/office/drawing/2014/main" id="{26CEAA56-F32F-4E17-B1AE-3AC40B24F3B3}"/>
                </a:ext>
              </a:extLst>
            </p:cNvPr>
            <p:cNvSpPr>
              <a:spLocks noChangeArrowheads="1"/>
            </p:cNvSpPr>
            <p:nvPr/>
          </p:nvSpPr>
          <p:spPr bwMode="auto">
            <a:xfrm>
              <a:off x="3657600" y="25146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
          <p:nvSpPr>
            <p:cNvPr id="50192" name="AutoShape 20">
              <a:extLst>
                <a:ext uri="{FF2B5EF4-FFF2-40B4-BE49-F238E27FC236}">
                  <a16:creationId xmlns:a16="http://schemas.microsoft.com/office/drawing/2014/main" id="{1C5DEAAF-DC09-45FF-8C26-A15C58663B00}"/>
                </a:ext>
              </a:extLst>
            </p:cNvPr>
            <p:cNvSpPr>
              <a:spLocks noChangeArrowheads="1"/>
            </p:cNvSpPr>
            <p:nvPr/>
          </p:nvSpPr>
          <p:spPr bwMode="auto">
            <a:xfrm>
              <a:off x="6629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
          <p:nvSpPr>
            <p:cNvPr id="50193" name="TextBox 12">
              <a:extLst>
                <a:ext uri="{FF2B5EF4-FFF2-40B4-BE49-F238E27FC236}">
                  <a16:creationId xmlns:a16="http://schemas.microsoft.com/office/drawing/2014/main" id="{BA81611C-DB26-46EA-B1F6-3E85633B5EB5}"/>
                </a:ext>
              </a:extLst>
            </p:cNvPr>
            <p:cNvSpPr txBox="1">
              <a:spLocks noChangeArrowheads="1"/>
            </p:cNvSpPr>
            <p:nvPr/>
          </p:nvSpPr>
          <p:spPr bwMode="auto">
            <a:xfrm>
              <a:off x="0" y="3581400"/>
              <a:ext cx="14478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Sole Source</a:t>
              </a:r>
            </a:p>
          </p:txBody>
        </p:sp>
        <p:sp>
          <p:nvSpPr>
            <p:cNvPr id="50194" name="AutoShape 19">
              <a:extLst>
                <a:ext uri="{FF2B5EF4-FFF2-40B4-BE49-F238E27FC236}">
                  <a16:creationId xmlns:a16="http://schemas.microsoft.com/office/drawing/2014/main" id="{AFE27863-F7CE-4EC8-BC7E-2DB0F68A6AC1}"/>
                </a:ext>
              </a:extLst>
            </p:cNvPr>
            <p:cNvSpPr>
              <a:spLocks noChangeArrowheads="1"/>
            </p:cNvSpPr>
            <p:nvPr/>
          </p:nvSpPr>
          <p:spPr bwMode="auto">
            <a:xfrm>
              <a:off x="1295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grpSp>
      <p:sp>
        <p:nvSpPr>
          <p:cNvPr id="50180" name="Rectangle 15">
            <a:extLst>
              <a:ext uri="{FF2B5EF4-FFF2-40B4-BE49-F238E27FC236}">
                <a16:creationId xmlns:a16="http://schemas.microsoft.com/office/drawing/2014/main" id="{5FCF7ACA-121F-436B-98A2-EB898FDDF2CE}"/>
              </a:ext>
            </a:extLst>
          </p:cNvPr>
          <p:cNvSpPr>
            <a:spLocks noChangeArrowheads="1"/>
          </p:cNvSpPr>
          <p:nvPr/>
        </p:nvSpPr>
        <p:spPr bwMode="auto">
          <a:xfrm rot="342205">
            <a:off x="319088" y="37020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500" b="1"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rPr>
              <a:t>√</a:t>
            </a:r>
            <a:endParaRPr kumimoji="0" lang="en-US" altLang="en-US" sz="11500" b="0"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endParaRPr>
          </a:p>
        </p:txBody>
      </p:sp>
      <p:sp>
        <p:nvSpPr>
          <p:cNvPr id="50181" name="Rectangle 18">
            <a:extLst>
              <a:ext uri="{FF2B5EF4-FFF2-40B4-BE49-F238E27FC236}">
                <a16:creationId xmlns:a16="http://schemas.microsoft.com/office/drawing/2014/main" id="{1A358C06-92D5-4F5F-AF9F-EC727EAC5BD4}"/>
              </a:ext>
            </a:extLst>
          </p:cNvPr>
          <p:cNvSpPr>
            <a:spLocks noChangeArrowheads="1"/>
          </p:cNvSpPr>
          <p:nvPr/>
        </p:nvSpPr>
        <p:spPr bwMode="auto">
          <a:xfrm rot="342205">
            <a:off x="2452688" y="38544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500" b="1"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rPr>
              <a:t>√</a:t>
            </a:r>
            <a:endParaRPr kumimoji="0" lang="en-US" altLang="en-US" sz="11500" b="0"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endParaRPr>
          </a:p>
        </p:txBody>
      </p:sp>
      <p:sp>
        <p:nvSpPr>
          <p:cNvPr id="50182" name="Rectangle 19">
            <a:extLst>
              <a:ext uri="{FF2B5EF4-FFF2-40B4-BE49-F238E27FC236}">
                <a16:creationId xmlns:a16="http://schemas.microsoft.com/office/drawing/2014/main" id="{14B2F5EE-0B01-4D61-8F35-C50E18F79883}"/>
              </a:ext>
            </a:extLst>
          </p:cNvPr>
          <p:cNvSpPr>
            <a:spLocks noChangeArrowheads="1"/>
          </p:cNvSpPr>
          <p:nvPr/>
        </p:nvSpPr>
        <p:spPr bwMode="auto">
          <a:xfrm rot="342205">
            <a:off x="5119688" y="43116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500" b="1"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rPr>
              <a:t>√</a:t>
            </a:r>
            <a:endParaRPr kumimoji="0" lang="en-US" altLang="en-US" sz="11500" b="0"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endParaRPr>
          </a:p>
        </p:txBody>
      </p:sp>
      <p:sp>
        <p:nvSpPr>
          <p:cNvPr id="50183" name="Rectangle 20">
            <a:extLst>
              <a:ext uri="{FF2B5EF4-FFF2-40B4-BE49-F238E27FC236}">
                <a16:creationId xmlns:a16="http://schemas.microsoft.com/office/drawing/2014/main" id="{D8001D97-479B-4E8F-B70E-3995ACCB0758}"/>
              </a:ext>
            </a:extLst>
          </p:cNvPr>
          <p:cNvSpPr>
            <a:spLocks noChangeArrowheads="1"/>
          </p:cNvSpPr>
          <p:nvPr/>
        </p:nvSpPr>
        <p:spPr bwMode="auto">
          <a:xfrm rot="342205">
            <a:off x="7558088" y="40830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500" b="1"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rPr>
              <a:t>√</a:t>
            </a:r>
            <a:endParaRPr kumimoji="0" lang="en-US" altLang="en-US" sz="11500" b="0" i="0" u="none" strike="noStrike" kern="1200" cap="none" spc="0" normalizeH="0" baseline="0" noProof="0">
              <a:ln>
                <a:noFill/>
              </a:ln>
              <a:solidFill>
                <a:srgbClr val="92D050"/>
              </a:solidFill>
              <a:effectLst/>
              <a:uLnTx/>
              <a:uFillTx/>
              <a:latin typeface="Garamond" panose="02020404030301010803" pitchFamily="18" charset="0"/>
              <a:ea typeface="+mn-ea"/>
              <a:cs typeface="Arial" panose="020B0604020202020204" pitchFamily="34" charset="0"/>
            </a:endParaRP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02" name="Picture 7">
            <a:extLst>
              <a:ext uri="{FF2B5EF4-FFF2-40B4-BE49-F238E27FC236}">
                <a16:creationId xmlns:a16="http://schemas.microsoft.com/office/drawing/2014/main" id="{74FADA1E-24E4-47A2-843C-697B1A72F7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4615" t="3622" r="2461" b="7245"/>
          <a:stretch>
            <a:fillRect/>
          </a:stretch>
        </p:blipFill>
        <p:spPr bwMode="auto">
          <a:xfrm>
            <a:off x="25400" y="1173163"/>
            <a:ext cx="6624638"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3" name="Title 1">
            <a:extLst>
              <a:ext uri="{FF2B5EF4-FFF2-40B4-BE49-F238E27FC236}">
                <a16:creationId xmlns:a16="http://schemas.microsoft.com/office/drawing/2014/main" id="{B201D2F5-1DB0-469B-89B4-8B8E6EB6B97C}"/>
              </a:ext>
            </a:extLst>
          </p:cNvPr>
          <p:cNvSpPr>
            <a:spLocks noGrp="1"/>
          </p:cNvSpPr>
          <p:nvPr>
            <p:ph type="title"/>
          </p:nvPr>
        </p:nvSpPr>
        <p:spPr>
          <a:xfrm>
            <a:off x="152400" y="-381000"/>
            <a:ext cx="7772400" cy="1143000"/>
          </a:xfrm>
        </p:spPr>
        <p:txBody>
          <a:bodyPr/>
          <a:lstStyle/>
          <a:p>
            <a:r>
              <a:rPr lang="en-US" altLang="en-US" sz="2400" b="1"/>
              <a:t>Do the EU Directives Impose Additional Principles</a:t>
            </a:r>
            <a:r>
              <a:rPr lang="en-US" altLang="en-US" sz="2800" b="1"/>
              <a:t>?</a:t>
            </a:r>
          </a:p>
        </p:txBody>
      </p:sp>
      <p:pic>
        <p:nvPicPr>
          <p:cNvPr id="51204" name="Picture 2">
            <a:extLst>
              <a:ext uri="{FF2B5EF4-FFF2-40B4-BE49-F238E27FC236}">
                <a16:creationId xmlns:a16="http://schemas.microsoft.com/office/drawing/2014/main" id="{B083FF6A-454B-4681-8AF6-F426E41563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4300" y="947738"/>
            <a:ext cx="6967538" cy="525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5" name="Up Arrow Callout 3">
            <a:extLst>
              <a:ext uri="{FF2B5EF4-FFF2-40B4-BE49-F238E27FC236}">
                <a16:creationId xmlns:a16="http://schemas.microsoft.com/office/drawing/2014/main" id="{82C1B5AC-1835-493E-9908-597A74F6F124}"/>
              </a:ext>
            </a:extLst>
          </p:cNvPr>
          <p:cNvSpPr>
            <a:spLocks noChangeArrowheads="1"/>
          </p:cNvSpPr>
          <p:nvPr/>
        </p:nvSpPr>
        <p:spPr bwMode="auto">
          <a:xfrm>
            <a:off x="3657600" y="5410586"/>
            <a:ext cx="2209800" cy="1447414"/>
          </a:xfrm>
          <a:prstGeom prst="upArrowCallout">
            <a:avLst>
              <a:gd name="adj1" fmla="val 25004"/>
              <a:gd name="adj2" fmla="val 25004"/>
              <a:gd name="adj3" fmla="val 25000"/>
              <a:gd name="adj4" fmla="val 64977"/>
            </a:avLst>
          </a:prstGeom>
          <a:solidFill>
            <a:srgbClr val="FF00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FFFFFF"/>
                </a:solidFill>
                <a:effectLst/>
                <a:uLnTx/>
                <a:uFillTx/>
                <a:latin typeface="Garamond" panose="02020404030301010803" pitchFamily="18" charset="0"/>
                <a:ea typeface="+mn-ea"/>
                <a:cs typeface="Arial" panose="020B0604020202020204" pitchFamily="34" charset="0"/>
              </a:rPr>
              <a:t>Author:  Abby Semple</a:t>
            </a:r>
          </a:p>
        </p:txBody>
      </p:sp>
      <p:sp>
        <p:nvSpPr>
          <p:cNvPr id="51206" name="Rectangle 4">
            <a:extLst>
              <a:ext uri="{FF2B5EF4-FFF2-40B4-BE49-F238E27FC236}">
                <a16:creationId xmlns:a16="http://schemas.microsoft.com/office/drawing/2014/main" id="{520FD9A1-CFE1-4C92-A630-A5C52B2DD43C}"/>
              </a:ext>
            </a:extLst>
          </p:cNvPr>
          <p:cNvSpPr>
            <a:spLocks noChangeArrowheads="1"/>
          </p:cNvSpPr>
          <p:nvPr/>
        </p:nvSpPr>
        <p:spPr bwMode="auto">
          <a:xfrm rot="-5400000">
            <a:off x="-1197769" y="3536157"/>
            <a:ext cx="4887913" cy="368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Garamond" panose="02020404030301010803" pitchFamily="18" charset="0"/>
                <a:ea typeface="+mn-ea"/>
                <a:cs typeface="Arial" panose="020B0604020202020204" pitchFamily="34" charset="0"/>
              </a:rPr>
              <a:t>Source: Abby Semple, www.procurementanalysis.eu/</a:t>
            </a: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0ECF8DC1-EF1F-4273-B4D1-89AB329E34E8}"/>
              </a:ext>
            </a:extLst>
          </p:cNvPr>
          <p:cNvSpPr>
            <a:spLocks noGrp="1"/>
          </p:cNvSpPr>
          <p:nvPr>
            <p:ph type="title"/>
          </p:nvPr>
        </p:nvSpPr>
        <p:spPr>
          <a:xfrm>
            <a:off x="722313" y="952500"/>
            <a:ext cx="7772400" cy="1362075"/>
          </a:xfrm>
        </p:spPr>
        <p:txBody>
          <a:bodyPr/>
          <a:lstStyle/>
          <a:p>
            <a:r>
              <a:rPr lang="en-US" altLang="en-US" dirty="0"/>
              <a:t>Patterns in U.S. Procuremen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3">
            <a:extLst>
              <a:ext uri="{FF2B5EF4-FFF2-40B4-BE49-F238E27FC236}">
                <a16:creationId xmlns:a16="http://schemas.microsoft.com/office/drawing/2014/main" id="{B928A1F1-71D1-4509-983F-76796E3DF964}"/>
              </a:ext>
            </a:extLst>
          </p:cNvPr>
          <p:cNvSpPr>
            <a:spLocks noGrp="1"/>
          </p:cNvSpPr>
          <p:nvPr>
            <p:ph type="title"/>
          </p:nvPr>
        </p:nvSpPr>
        <p:spPr/>
        <p:txBody>
          <a:bodyPr/>
          <a:lstStyle/>
          <a:p>
            <a:endParaRPr lang="en-US" altLang="en-US"/>
          </a:p>
        </p:txBody>
      </p:sp>
      <p:pic>
        <p:nvPicPr>
          <p:cNvPr id="53251" name="Picture 3">
            <a:extLst>
              <a:ext uri="{FF2B5EF4-FFF2-40B4-BE49-F238E27FC236}">
                <a16:creationId xmlns:a16="http://schemas.microsoft.com/office/drawing/2014/main" id="{980F6389-3C8B-4144-8E7C-ACC8A7276F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 y="171450"/>
            <a:ext cx="8636000" cy="560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252" name="TextBox 4">
            <a:extLst>
              <a:ext uri="{FF2B5EF4-FFF2-40B4-BE49-F238E27FC236}">
                <a16:creationId xmlns:a16="http://schemas.microsoft.com/office/drawing/2014/main" id="{96D59853-6A81-4546-AD37-EC88C03F5F73}"/>
              </a:ext>
            </a:extLst>
          </p:cNvPr>
          <p:cNvSpPr txBox="1">
            <a:spLocks noChangeArrowheads="1"/>
          </p:cNvSpPr>
          <p:nvPr/>
        </p:nvSpPr>
        <p:spPr bwMode="auto">
          <a:xfrm>
            <a:off x="254000" y="5376863"/>
            <a:ext cx="3251200" cy="4603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FFFFFF"/>
                </a:solidFill>
                <a:effectLst/>
                <a:uLnTx/>
                <a:uFillTx/>
                <a:latin typeface="Perpetua" panose="02020502060401020303" pitchFamily="18" charset="0"/>
                <a:ea typeface="+mn-ea"/>
                <a:cs typeface="Arial" panose="020B0604020202020204" pitchFamily="34" charset="0"/>
              </a:rPr>
              <a:t>www.usaspending.gov</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9FBE7-AB4A-4318-B45E-597162F3D405}"/>
              </a:ext>
            </a:extLst>
          </p:cNvPr>
          <p:cNvSpPr>
            <a:spLocks noGrp="1"/>
          </p:cNvSpPr>
          <p:nvPr>
            <p:ph type="title"/>
          </p:nvPr>
        </p:nvSpPr>
        <p:spPr/>
        <p:txBody>
          <a:bodyPr/>
          <a:lstStyle/>
          <a:p>
            <a:r>
              <a:rPr lang="en-US" dirty="0"/>
              <a:t>Defense Department Procurement – FY 2019</a:t>
            </a:r>
          </a:p>
        </p:txBody>
      </p:sp>
      <p:pic>
        <p:nvPicPr>
          <p:cNvPr id="3" name="Picture 2">
            <a:extLst>
              <a:ext uri="{FF2B5EF4-FFF2-40B4-BE49-F238E27FC236}">
                <a16:creationId xmlns:a16="http://schemas.microsoft.com/office/drawing/2014/main" id="{21DB8F32-CFED-4065-AE33-B0A9BAB4171D}"/>
              </a:ext>
            </a:extLst>
          </p:cNvPr>
          <p:cNvPicPr>
            <a:picLocks noChangeAspect="1"/>
          </p:cNvPicPr>
          <p:nvPr/>
        </p:nvPicPr>
        <p:blipFill>
          <a:blip r:embed="rId2"/>
          <a:stretch>
            <a:fillRect/>
          </a:stretch>
        </p:blipFill>
        <p:spPr>
          <a:xfrm>
            <a:off x="838200" y="1600200"/>
            <a:ext cx="7696200" cy="3852952"/>
          </a:xfrm>
          <a:prstGeom prst="rect">
            <a:avLst/>
          </a:prstGeom>
        </p:spPr>
      </p:pic>
    </p:spTree>
    <p:extLst>
      <p:ext uri="{BB962C8B-B14F-4D97-AF65-F5344CB8AC3E}">
        <p14:creationId xmlns:p14="http://schemas.microsoft.com/office/powerpoint/2010/main" val="583513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076B1-A0E0-484D-ADD0-0E5F008CC174}"/>
              </a:ext>
            </a:extLst>
          </p:cNvPr>
          <p:cNvSpPr>
            <a:spLocks noGrp="1"/>
          </p:cNvSpPr>
          <p:nvPr>
            <p:ph type="title"/>
          </p:nvPr>
        </p:nvSpPr>
        <p:spPr/>
        <p:txBody>
          <a:bodyPr/>
          <a:lstStyle/>
          <a:p>
            <a:r>
              <a:rPr lang="en-US" sz="2800" b="1" dirty="0"/>
              <a:t>. . . And a U.S. approach to renewing its legal regime</a:t>
            </a:r>
          </a:p>
        </p:txBody>
      </p:sp>
      <p:sp>
        <p:nvSpPr>
          <p:cNvPr id="3" name="Text Placeholder 2">
            <a:extLst>
              <a:ext uri="{FF2B5EF4-FFF2-40B4-BE49-F238E27FC236}">
                <a16:creationId xmlns:a16="http://schemas.microsoft.com/office/drawing/2014/main" id="{6F45E49A-9A1E-4DE4-891A-4C95AAC28BB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43959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3CC0EE-C574-471C-B5F3-962ACD49EED3}"/>
              </a:ext>
            </a:extLst>
          </p:cNvPr>
          <p:cNvPicPr>
            <a:picLocks noChangeAspect="1"/>
          </p:cNvPicPr>
          <p:nvPr/>
        </p:nvPicPr>
        <p:blipFill>
          <a:blip r:embed="rId3"/>
          <a:stretch>
            <a:fillRect/>
          </a:stretch>
        </p:blipFill>
        <p:spPr>
          <a:xfrm>
            <a:off x="194881" y="152400"/>
            <a:ext cx="4377119" cy="5257800"/>
          </a:xfrm>
          <a:prstGeom prst="rect">
            <a:avLst/>
          </a:prstGeom>
        </p:spPr>
      </p:pic>
      <p:pic>
        <p:nvPicPr>
          <p:cNvPr id="54328" name="Picture 56" descr="Image result for french flag">
            <a:extLst>
              <a:ext uri="{FF2B5EF4-FFF2-40B4-BE49-F238E27FC236}">
                <a16:creationId xmlns:a16="http://schemas.microsoft.com/office/drawing/2014/main" id="{00BAD434-4CC0-4468-AB81-5316705185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5600" y="5217111"/>
            <a:ext cx="22860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0678DFA-97C3-4F9B-883C-DB17CFA89A4E}"/>
              </a:ext>
            </a:extLst>
          </p:cNvPr>
          <p:cNvPicPr>
            <a:picLocks noChangeAspect="1"/>
          </p:cNvPicPr>
          <p:nvPr/>
        </p:nvPicPr>
        <p:blipFill>
          <a:blip r:embed="rId5"/>
          <a:stretch>
            <a:fillRect/>
          </a:stretch>
        </p:blipFill>
        <p:spPr>
          <a:xfrm>
            <a:off x="4986719" y="1268929"/>
            <a:ext cx="3395281" cy="3903146"/>
          </a:xfrm>
          <a:prstGeom prst="rect">
            <a:avLst/>
          </a:prstGeom>
        </p:spPr>
      </p:pic>
      <p:sp>
        <p:nvSpPr>
          <p:cNvPr id="8" name="Callout: Down Arrow 7">
            <a:extLst>
              <a:ext uri="{FF2B5EF4-FFF2-40B4-BE49-F238E27FC236}">
                <a16:creationId xmlns:a16="http://schemas.microsoft.com/office/drawing/2014/main" id="{2217C5B7-BA11-4D07-AF38-0E5A71341428}"/>
              </a:ext>
            </a:extLst>
          </p:cNvPr>
          <p:cNvSpPr/>
          <p:nvPr/>
        </p:nvSpPr>
        <p:spPr>
          <a:xfrm>
            <a:off x="5638800" y="381000"/>
            <a:ext cx="1981200" cy="914400"/>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Perpetua"/>
                <a:ea typeface="+mn-ea"/>
                <a:cs typeface="+mn-cs"/>
              </a:rPr>
              <a:t>Top Defense</a:t>
            </a:r>
          </a:p>
        </p:txBody>
      </p:sp>
      <p:sp>
        <p:nvSpPr>
          <p:cNvPr id="9" name="Oval 8">
            <a:extLst>
              <a:ext uri="{FF2B5EF4-FFF2-40B4-BE49-F238E27FC236}">
                <a16:creationId xmlns:a16="http://schemas.microsoft.com/office/drawing/2014/main" id="{53F151FA-518E-41DC-872F-3599265A30F0}"/>
              </a:ext>
            </a:extLst>
          </p:cNvPr>
          <p:cNvSpPr/>
          <p:nvPr/>
        </p:nvSpPr>
        <p:spPr>
          <a:xfrm>
            <a:off x="2781300" y="5546024"/>
            <a:ext cx="2514600" cy="1027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Perpetua"/>
                <a:ea typeface="+mn-ea"/>
                <a:cs typeface="+mn-cs"/>
              </a:rPr>
              <a:t>France Defense Budge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Perpetua"/>
                <a:ea typeface="+mn-ea"/>
                <a:cs typeface="+mn-cs"/>
              </a:rPr>
              <a:t>US$42 billion</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0A6CB-53F0-41EA-9530-F2D7A8BA1DF1}"/>
              </a:ext>
            </a:extLst>
          </p:cNvPr>
          <p:cNvSpPr>
            <a:spLocks noGrp="1"/>
          </p:cNvSpPr>
          <p:nvPr>
            <p:ph type="title"/>
          </p:nvPr>
        </p:nvSpPr>
        <p:spPr>
          <a:xfrm>
            <a:off x="184150" y="192088"/>
            <a:ext cx="4198938" cy="1143000"/>
          </a:xfrm>
        </p:spPr>
        <p:txBody>
          <a:bodyPr>
            <a:normAutofit fontScale="90000"/>
          </a:bodyPr>
          <a:lstStyle/>
          <a:p>
            <a:pPr fontAlgn="auto">
              <a:spcAft>
                <a:spcPts val="0"/>
              </a:spcAft>
              <a:defRPr/>
            </a:pPr>
            <a:r>
              <a:rPr lang="en-US" b="1" dirty="0">
                <a:solidFill>
                  <a:schemeClr val="tx1"/>
                </a:solidFill>
              </a:rPr>
              <a:t>Some Trends in DoD Procurement</a:t>
            </a:r>
          </a:p>
        </p:txBody>
      </p:sp>
      <p:pic>
        <p:nvPicPr>
          <p:cNvPr id="56323" name="Picture 2">
            <a:extLst>
              <a:ext uri="{FF2B5EF4-FFF2-40B4-BE49-F238E27FC236}">
                <a16:creationId xmlns:a16="http://schemas.microsoft.com/office/drawing/2014/main" id="{B9566339-21CF-4035-B0DC-F40EC70E58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163" y="1462088"/>
            <a:ext cx="3990975" cy="3748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324" name="Picture 3">
            <a:extLst>
              <a:ext uri="{FF2B5EF4-FFF2-40B4-BE49-F238E27FC236}">
                <a16:creationId xmlns:a16="http://schemas.microsoft.com/office/drawing/2014/main" id="{BEDC3CBC-8AA4-4D41-86EE-BEA6715EB7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3088" y="642939"/>
            <a:ext cx="4579937" cy="40814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a:extLst>
              <a:ext uri="{FF2B5EF4-FFF2-40B4-BE49-F238E27FC236}">
                <a16:creationId xmlns:a16="http://schemas.microsoft.com/office/drawing/2014/main" id="{85866557-89D0-44D7-BCF4-A0172492C693}"/>
              </a:ext>
            </a:extLst>
          </p:cNvPr>
          <p:cNvSpPr>
            <a:spLocks noGrp="1"/>
          </p:cNvSpPr>
          <p:nvPr>
            <p:ph type="title"/>
          </p:nvPr>
        </p:nvSpPr>
        <p:spPr/>
        <p:txBody>
          <a:bodyPr/>
          <a:lstStyle/>
          <a:p>
            <a:endParaRPr lang="en-US" altLang="en-US"/>
          </a:p>
        </p:txBody>
      </p:sp>
      <p:pic>
        <p:nvPicPr>
          <p:cNvPr id="58371" name="Picture 2">
            <a:extLst>
              <a:ext uri="{FF2B5EF4-FFF2-40B4-BE49-F238E27FC236}">
                <a16:creationId xmlns:a16="http://schemas.microsoft.com/office/drawing/2014/main" id="{78E45010-D407-40D0-9C44-7AEBAE143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7" y="483703"/>
            <a:ext cx="9137650" cy="48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F8DFE-9F14-45D5-B54C-599DF6AB2DF7}"/>
              </a:ext>
            </a:extLst>
          </p:cNvPr>
          <p:cNvSpPr>
            <a:spLocks noGrp="1"/>
          </p:cNvSpPr>
          <p:nvPr>
            <p:ph type="title"/>
          </p:nvPr>
        </p:nvSpPr>
        <p:spPr>
          <a:xfrm>
            <a:off x="722313" y="952500"/>
            <a:ext cx="7772400" cy="1362075"/>
          </a:xfrm>
        </p:spPr>
        <p:txBody>
          <a:bodyPr>
            <a:normAutofit/>
          </a:bodyPr>
          <a:lstStyle/>
          <a:p>
            <a:pPr fontAlgn="auto">
              <a:spcAft>
                <a:spcPts val="0"/>
              </a:spcAft>
              <a:defRPr/>
            </a:pPr>
            <a:r>
              <a:rPr lang="en-US" sz="3200" b="1" dirty="0"/>
              <a:t>Access for Foreign Firms to Unitary Federal Procurement Market, Civilian and Defense</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a:extLst>
              <a:ext uri="{FF2B5EF4-FFF2-40B4-BE49-F238E27FC236}">
                <a16:creationId xmlns:a16="http://schemas.microsoft.com/office/drawing/2014/main" id="{C8107D5E-6493-4235-9824-71090FF49F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8600" y="1368425"/>
            <a:ext cx="4805363" cy="339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443" name="Title 3">
            <a:extLst>
              <a:ext uri="{FF2B5EF4-FFF2-40B4-BE49-F238E27FC236}">
                <a16:creationId xmlns:a16="http://schemas.microsoft.com/office/drawing/2014/main" id="{DF880065-467E-430E-8168-6AB150177EE7}"/>
              </a:ext>
            </a:extLst>
          </p:cNvPr>
          <p:cNvSpPr>
            <a:spLocks noGrp="1"/>
          </p:cNvSpPr>
          <p:nvPr>
            <p:ph type="title"/>
          </p:nvPr>
        </p:nvSpPr>
        <p:spPr>
          <a:xfrm>
            <a:off x="449263" y="225425"/>
            <a:ext cx="7772400" cy="1143000"/>
          </a:xfrm>
        </p:spPr>
        <p:txBody>
          <a:bodyPr/>
          <a:lstStyle/>
          <a:p>
            <a:r>
              <a:rPr lang="en-US" altLang="en-US" b="1"/>
              <a:t>DoD Acquisition Workforce</a:t>
            </a:r>
          </a:p>
        </p:txBody>
      </p:sp>
      <p:sp>
        <p:nvSpPr>
          <p:cNvPr id="5" name="Rectangle 4">
            <a:extLst>
              <a:ext uri="{FF2B5EF4-FFF2-40B4-BE49-F238E27FC236}">
                <a16:creationId xmlns:a16="http://schemas.microsoft.com/office/drawing/2014/main" id="{E77B2BB0-A197-46B8-BB6B-E77FA6DD24D9}"/>
              </a:ext>
            </a:extLst>
          </p:cNvPr>
          <p:cNvSpPr/>
          <p:nvPr/>
        </p:nvSpPr>
        <p:spPr>
          <a:xfrm>
            <a:off x="250825" y="2819400"/>
            <a:ext cx="4572000" cy="3694113"/>
          </a:xfrm>
          <a:prstGeom prst="rect">
            <a:avLst/>
          </a:prstGeom>
          <a:solidFill>
            <a:srgbClr val="FFFFFF"/>
          </a:solidFill>
          <a:ln>
            <a:solidFill>
              <a:schemeClr val="accent4">
                <a:lumMod val="75000"/>
              </a:schemeClr>
            </a:solidFill>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Lato"/>
                <a:ea typeface="+mn-ea"/>
                <a:cs typeface="Arial" panose="020B0604020202020204" pitchFamily="34" charset="0"/>
              </a:rPr>
              <a:t>The size of DoD’s civilian acquisition workforce has grown by some 20,000 employees over the past five years and </a:t>
            </a:r>
            <a:r>
              <a:rPr kumimoji="0" lang="en-US" sz="1800" b="1" i="0" u="none" strike="noStrike" kern="1200" cap="none" spc="0" normalizeH="0" baseline="0" noProof="0" dirty="0">
                <a:ln>
                  <a:noFill/>
                </a:ln>
                <a:solidFill>
                  <a:srgbClr val="9B2D1F"/>
                </a:solidFill>
                <a:effectLst/>
                <a:uLnTx/>
                <a:uFillTx/>
                <a:latin typeface="Lato"/>
                <a:ea typeface="+mn-ea"/>
                <a:cs typeface="Arial" panose="020B0604020202020204" pitchFamily="34" charset="0"/>
              </a:rPr>
              <a:t>now numbers about 135,000 personnel members</a:t>
            </a:r>
            <a:r>
              <a:rPr kumimoji="0" lang="en-US" sz="1800" b="0" i="0" u="none" strike="noStrike" kern="1200" cap="none" spc="0" normalizeH="0" baseline="0" noProof="0" dirty="0">
                <a:ln>
                  <a:noFill/>
                </a:ln>
                <a:solidFill>
                  <a:srgbClr val="333333"/>
                </a:solidFill>
                <a:effectLst/>
                <a:uLnTx/>
                <a:uFillTx/>
                <a:latin typeface="Lato"/>
                <a:ea typeface="+mn-ea"/>
                <a:cs typeface="Arial" panose="020B0604020202020204" pitchFamily="34" charset="0"/>
              </a:rPr>
              <a:t>, according to Stephanie </a:t>
            </a:r>
            <a:r>
              <a:rPr kumimoji="0" lang="en-US" sz="1800" b="0" i="0" u="none" strike="noStrike" kern="1200" cap="none" spc="0" normalizeH="0" baseline="0" noProof="0" dirty="0" err="1">
                <a:ln>
                  <a:noFill/>
                </a:ln>
                <a:solidFill>
                  <a:srgbClr val="333333"/>
                </a:solidFill>
                <a:effectLst/>
                <a:uLnTx/>
                <a:uFillTx/>
                <a:latin typeface="Lato"/>
                <a:ea typeface="+mn-ea"/>
                <a:cs typeface="Arial" panose="020B0604020202020204" pitchFamily="34" charset="0"/>
              </a:rPr>
              <a:t>Barna</a:t>
            </a:r>
            <a:r>
              <a:rPr kumimoji="0" lang="en-US" sz="1800" b="0" i="0" u="none" strike="noStrike" kern="1200" cap="none" spc="0" normalizeH="0" baseline="0" noProof="0" dirty="0">
                <a:ln>
                  <a:noFill/>
                </a:ln>
                <a:solidFill>
                  <a:srgbClr val="333333"/>
                </a:solidFill>
                <a:effectLst/>
                <a:uLnTx/>
                <a:uFillTx/>
                <a:latin typeface="Lato"/>
                <a:ea typeface="+mn-ea"/>
                <a:cs typeface="Arial" panose="020B0604020202020204" pitchFamily="34" charset="0"/>
              </a:rPr>
              <a:t>, acting assistant secretary of Defense for Readiness and Force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Lato"/>
                <a:ea typeface="+mn-ea"/>
                <a:cs typeface="Arial" panose="020B0604020202020204" pitchFamily="34" charset="0"/>
              </a:rPr>
              <a:t>Civilians make up 90 percent of the department’s total acquisition workforce. </a:t>
            </a:r>
            <a:r>
              <a:rPr kumimoji="0" lang="en-US" sz="1800" b="1" i="0" u="none" strike="noStrike" kern="1200" cap="none" spc="0" normalizeH="0" baseline="0" noProof="0" dirty="0">
                <a:ln>
                  <a:noFill/>
                </a:ln>
                <a:solidFill>
                  <a:srgbClr val="9B2D1F"/>
                </a:solidFill>
                <a:effectLst/>
                <a:uLnTx/>
                <a:uFillTx/>
                <a:latin typeface="Lato"/>
                <a:ea typeface="+mn-ea"/>
                <a:cs typeface="Arial" panose="020B0604020202020204" pitchFamily="34" charset="0"/>
              </a:rPr>
              <a:t>The military component of the acquisition workforce also ticked up by about 2,500 employees, reaching more than 16,000 employees</a:t>
            </a:r>
            <a:r>
              <a:rPr kumimoji="0" lang="en-US" sz="1800" b="0" i="0" u="none" strike="noStrike" kern="1200" cap="none" spc="0" normalizeH="0" baseline="0" noProof="0" dirty="0">
                <a:ln>
                  <a:noFill/>
                </a:ln>
                <a:solidFill>
                  <a:srgbClr val="333333"/>
                </a:solidFill>
                <a:effectLst/>
                <a:uLnTx/>
                <a:uFillTx/>
                <a:latin typeface="Lato"/>
                <a:ea typeface="+mn-ea"/>
                <a:cs typeface="Arial" panose="020B0604020202020204" pitchFamily="34" charset="0"/>
              </a:rPr>
              <a:t>, </a:t>
            </a:r>
            <a:r>
              <a:rPr kumimoji="0" lang="en-US" sz="1800" b="0" i="0" u="none" strike="noStrike" kern="1200" cap="none" spc="0" normalizeH="0" baseline="0" noProof="0" dirty="0" err="1">
                <a:ln>
                  <a:noFill/>
                </a:ln>
                <a:solidFill>
                  <a:srgbClr val="333333"/>
                </a:solidFill>
                <a:effectLst/>
                <a:uLnTx/>
                <a:uFillTx/>
                <a:latin typeface="Lato"/>
                <a:ea typeface="+mn-ea"/>
                <a:cs typeface="Arial" panose="020B0604020202020204" pitchFamily="34" charset="0"/>
              </a:rPr>
              <a:t>Barna</a:t>
            </a:r>
            <a:r>
              <a:rPr kumimoji="0" lang="en-US" sz="1800" b="0" i="0" u="none" strike="noStrike" kern="1200" cap="none" spc="0" normalizeH="0" baseline="0" noProof="0" dirty="0">
                <a:ln>
                  <a:noFill/>
                </a:ln>
                <a:solidFill>
                  <a:srgbClr val="333333"/>
                </a:solidFill>
                <a:effectLst/>
                <a:uLnTx/>
                <a:uFillTx/>
                <a:latin typeface="Lato"/>
                <a:ea typeface="+mn-ea"/>
                <a:cs typeface="Arial" panose="020B0604020202020204" pitchFamily="34" charset="0"/>
              </a:rPr>
              <a:t> said. </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DEDA4448-4BDD-4B87-9AAA-16ECD1064938}"/>
              </a:ext>
            </a:extLst>
          </p:cNvPr>
          <p:cNvSpPr>
            <a:spLocks noGrp="1"/>
          </p:cNvSpPr>
          <p:nvPr>
            <p:ph type="title"/>
          </p:nvPr>
        </p:nvSpPr>
        <p:spPr>
          <a:xfrm>
            <a:off x="704850" y="1601788"/>
            <a:ext cx="2481263" cy="1143000"/>
          </a:xfrm>
        </p:spPr>
        <p:txBody>
          <a:bodyPr/>
          <a:lstStyle/>
          <a:p>
            <a:r>
              <a:rPr lang="en-US" altLang="en-US" b="1"/>
              <a:t>Typical Progress</a:t>
            </a:r>
          </a:p>
        </p:txBody>
      </p:sp>
      <p:graphicFrame>
        <p:nvGraphicFramePr>
          <p:cNvPr id="3" name="Diagram 2">
            <a:extLst>
              <a:ext uri="{FF2B5EF4-FFF2-40B4-BE49-F238E27FC236}">
                <a16:creationId xmlns:a16="http://schemas.microsoft.com/office/drawing/2014/main" id="{D47BB042-E5DB-49D8-A970-7B9C7593231F}"/>
              </a:ext>
            </a:extLst>
          </p:cNvPr>
          <p:cNvGraphicFramePr/>
          <p:nvPr/>
        </p:nvGraphicFramePr>
        <p:xfrm>
          <a:off x="2643648" y="365704"/>
          <a:ext cx="4412226" cy="59171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C7ECE64C-0D0C-46EE-9A83-3E1D8FC85C3A}"/>
              </a:ext>
            </a:extLst>
          </p:cNvPr>
          <p:cNvSpPr>
            <a:spLocks noGrp="1"/>
          </p:cNvSpPr>
          <p:nvPr>
            <p:ph type="title"/>
          </p:nvPr>
        </p:nvSpPr>
        <p:spPr>
          <a:xfrm>
            <a:off x="722313" y="952500"/>
            <a:ext cx="7772400" cy="1362075"/>
          </a:xfrm>
        </p:spPr>
        <p:txBody>
          <a:bodyPr/>
          <a:lstStyle/>
          <a:p>
            <a:r>
              <a:rPr lang="en-US" altLang="en-US"/>
              <a:t>Protectionism and the </a:t>
            </a:r>
            <a:br>
              <a:rPr lang="en-US" altLang="en-US"/>
            </a:br>
            <a:r>
              <a:rPr lang="en-US" altLang="en-US"/>
              <a:t>Trump Administration</a:t>
            </a:r>
          </a:p>
        </p:txBody>
      </p:sp>
      <p:sp>
        <p:nvSpPr>
          <p:cNvPr id="5" name="Text Placeholder 4">
            <a:extLst>
              <a:ext uri="{FF2B5EF4-FFF2-40B4-BE49-F238E27FC236}">
                <a16:creationId xmlns:a16="http://schemas.microsoft.com/office/drawing/2014/main" id="{CC380556-A556-4439-8157-60C506659D1A}"/>
              </a:ext>
            </a:extLst>
          </p:cNvPr>
          <p:cNvSpPr>
            <a:spLocks noGrp="1"/>
          </p:cNvSpPr>
          <p:nvPr>
            <p:ph type="body" idx="1"/>
          </p:nvPr>
        </p:nvSpPr>
        <p:spPr/>
        <p:txBody>
          <a:bodyPr rtlCol="0">
            <a:normAutofit/>
          </a:bodyPr>
          <a:lstStyle/>
          <a:p>
            <a:pPr fontAlgn="auto">
              <a:spcBef>
                <a:spcPts val="580"/>
              </a:spcBef>
              <a:spcAft>
                <a:spcPts val="0"/>
              </a:spcAft>
              <a:buFont typeface="Wingdings 2"/>
              <a:buNone/>
              <a:defRPr/>
            </a:pPr>
            <a:endParaRPr lang="en-US"/>
          </a:p>
        </p:txBody>
      </p:sp>
      <p:sp>
        <p:nvSpPr>
          <p:cNvPr id="6" name="Slide Number Placeholder 5">
            <a:extLst>
              <a:ext uri="{FF2B5EF4-FFF2-40B4-BE49-F238E27FC236}">
                <a16:creationId xmlns:a16="http://schemas.microsoft.com/office/drawing/2014/main" id="{028BAF3A-D32B-489F-8BD4-534836A0DA25}"/>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434E4E81-D811-4774-B89F-A918A28815C0}" type="slidenum">
              <a:rPr kumimoji="0" lang="en-US"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26</a:t>
            </a:fld>
            <a:endParaRPr kumimoji="0" lang="en-US"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424B87C7-D8E8-4A93-9214-8736DEA84560}"/>
              </a:ext>
            </a:extLst>
          </p:cNvPr>
          <p:cNvSpPr>
            <a:spLocks noGrp="1"/>
          </p:cNvSpPr>
          <p:nvPr>
            <p:ph type="title"/>
          </p:nvPr>
        </p:nvSpPr>
        <p:spPr/>
        <p:txBody>
          <a:bodyPr/>
          <a:lstStyle/>
          <a:p>
            <a:endParaRPr lang="en-US" altLang="en-US"/>
          </a:p>
        </p:txBody>
      </p:sp>
      <p:pic>
        <p:nvPicPr>
          <p:cNvPr id="66563" name="Picture 2">
            <a:extLst>
              <a:ext uri="{FF2B5EF4-FFF2-40B4-BE49-F238E27FC236}">
                <a16:creationId xmlns:a16="http://schemas.microsoft.com/office/drawing/2014/main" id="{E1DB14AA-C056-4A9B-B3B8-974CE0E694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57200"/>
            <a:ext cx="9205913" cy="517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0312204B-DE9C-44E3-854D-04257DC04BDF}"/>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4532809-A7F0-4503-8E9B-73E37623727F}" type="slidenum">
              <a:rPr kumimoji="0" lang="en-US"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27</a:t>
            </a:fld>
            <a:endParaRPr kumimoji="0" lang="en-US"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a:extLst>
              <a:ext uri="{FF2B5EF4-FFF2-40B4-BE49-F238E27FC236}">
                <a16:creationId xmlns:a16="http://schemas.microsoft.com/office/drawing/2014/main" id="{F9031710-820B-474B-A58E-2C1596B3DC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576263"/>
            <a:ext cx="7915275" cy="614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6869667E-35B0-4BD8-A848-A8B8C7CECBFB}"/>
              </a:ext>
            </a:extLst>
          </p:cNvPr>
          <p:cNvSpPr/>
          <p:nvPr/>
        </p:nvSpPr>
        <p:spPr>
          <a:xfrm rot="1411398">
            <a:off x="249238" y="2798763"/>
            <a:ext cx="8747125" cy="65563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erpetua"/>
              <a:ea typeface="+mn-ea"/>
              <a:cs typeface="+mn-cs"/>
            </a:endParaRPr>
          </a:p>
        </p:txBody>
      </p:sp>
      <p:sp>
        <p:nvSpPr>
          <p:cNvPr id="8" name="Rectangle 7">
            <a:extLst>
              <a:ext uri="{FF2B5EF4-FFF2-40B4-BE49-F238E27FC236}">
                <a16:creationId xmlns:a16="http://schemas.microsoft.com/office/drawing/2014/main" id="{534FE20F-AF84-40B7-93E2-64D307032848}"/>
              </a:ext>
            </a:extLst>
          </p:cNvPr>
          <p:cNvSpPr/>
          <p:nvPr/>
        </p:nvSpPr>
        <p:spPr>
          <a:xfrm rot="19376377">
            <a:off x="352425" y="3262313"/>
            <a:ext cx="8734425" cy="40322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erpetua"/>
              <a:ea typeface="+mn-ea"/>
              <a:cs typeface="+mn-cs"/>
            </a:endParaRPr>
          </a:p>
        </p:txBody>
      </p:sp>
      <p:sp>
        <p:nvSpPr>
          <p:cNvPr id="3" name="Slide Number Placeholder 2">
            <a:extLst>
              <a:ext uri="{FF2B5EF4-FFF2-40B4-BE49-F238E27FC236}">
                <a16:creationId xmlns:a16="http://schemas.microsoft.com/office/drawing/2014/main" id="{51C7A951-45AC-4CC2-866F-CAA60B76D440}"/>
              </a:ext>
            </a:extLst>
          </p:cNvPr>
          <p:cNvSpPr>
            <a:spLocks noGrp="1"/>
          </p:cNvSpPr>
          <p:nvPr>
            <p:ph type="sldNum" sz="quarter" idx="4294967295"/>
          </p:nvPr>
        </p:nvSpPr>
        <p:spPr>
          <a:xfrm>
            <a:off x="102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7A2E181-B979-4457-B8C9-C705AF7E53A6}" type="slidenum">
              <a:rPr kumimoji="0" lang="en-US"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28</a:t>
            </a:fld>
            <a:endParaRPr kumimoji="0" lang="en-US"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endParaRPr>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C534E0-AF1C-4BAA-9821-2019C23A4229}"/>
              </a:ext>
            </a:extLst>
          </p:cNvPr>
          <p:cNvSpPr>
            <a:spLocks noGrp="1"/>
          </p:cNvSpPr>
          <p:nvPr>
            <p:ph type="title"/>
          </p:nvPr>
        </p:nvSpPr>
        <p:spPr/>
        <p:txBody>
          <a:bodyPr rtlCol="0">
            <a:normAutofit/>
          </a:bodyPr>
          <a:lstStyle/>
          <a:p>
            <a:pPr eaLnBrk="1" fontAlgn="auto" hangingPunct="1">
              <a:spcAft>
                <a:spcPts val="0"/>
              </a:spcAft>
              <a:defRPr/>
            </a:pPr>
            <a:r>
              <a:rPr lang="en-US" dirty="0"/>
              <a:t>Key concepts</a:t>
            </a:r>
          </a:p>
        </p:txBody>
      </p:sp>
      <p:sp>
        <p:nvSpPr>
          <p:cNvPr id="2" name="Slide Number Placeholder 1">
            <a:extLst>
              <a:ext uri="{FF2B5EF4-FFF2-40B4-BE49-F238E27FC236}">
                <a16:creationId xmlns:a16="http://schemas.microsoft.com/office/drawing/2014/main" id="{8EF9C6DB-2DB7-474A-BD7A-9BFBA4A20CAC}"/>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E0EF9DD-4045-4C70-8900-28138D4F7ECD}"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5474143-C3DB-4C42-A04F-A76E45595CD6}"/>
              </a:ext>
            </a:extLst>
          </p:cNvPr>
          <p:cNvGraphicFramePr/>
          <p:nvPr/>
        </p:nvGraphicFramePr>
        <p:xfrm>
          <a:off x="838200" y="457200"/>
          <a:ext cx="7620000" cy="5003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7891" name="Right Arrow Callout 2">
            <a:extLst>
              <a:ext uri="{FF2B5EF4-FFF2-40B4-BE49-F238E27FC236}">
                <a16:creationId xmlns:a16="http://schemas.microsoft.com/office/drawing/2014/main" id="{859ABD76-2954-41B7-8ECA-4389C3FDC685}"/>
              </a:ext>
            </a:extLst>
          </p:cNvPr>
          <p:cNvSpPr>
            <a:spLocks noChangeArrowheads="1"/>
          </p:cNvSpPr>
          <p:nvPr/>
        </p:nvSpPr>
        <p:spPr bwMode="auto">
          <a:xfrm>
            <a:off x="2286000" y="304800"/>
            <a:ext cx="1600200" cy="1600200"/>
          </a:xfrm>
          <a:prstGeom prst="rightArrowCallout">
            <a:avLst>
              <a:gd name="adj1" fmla="val 25000"/>
              <a:gd name="adj2" fmla="val 25000"/>
              <a:gd name="adj3" fmla="val 25000"/>
              <a:gd name="adj4" fmla="val 64977"/>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6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1984</a:t>
            </a:r>
          </a:p>
        </p:txBody>
      </p:sp>
      <p:sp>
        <p:nvSpPr>
          <p:cNvPr id="37892" name="Rectangle 3">
            <a:extLst>
              <a:ext uri="{FF2B5EF4-FFF2-40B4-BE49-F238E27FC236}">
                <a16:creationId xmlns:a16="http://schemas.microsoft.com/office/drawing/2014/main" id="{11C8ED68-A6E3-4287-BFB9-9E60D1EF0AA8}"/>
              </a:ext>
            </a:extLst>
          </p:cNvPr>
          <p:cNvSpPr>
            <a:spLocks noChangeArrowheads="1"/>
          </p:cNvSpPr>
          <p:nvPr/>
        </p:nvSpPr>
        <p:spPr bwMode="auto">
          <a:xfrm>
            <a:off x="304800" y="5943600"/>
            <a:ext cx="6400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 . Has a Uniform Set of Regulations</a:t>
            </a:r>
          </a:p>
        </p:txBody>
      </p:sp>
      <p:sp>
        <p:nvSpPr>
          <p:cNvPr id="37893" name="TextBox 2">
            <a:extLst>
              <a:ext uri="{FF2B5EF4-FFF2-40B4-BE49-F238E27FC236}">
                <a16:creationId xmlns:a16="http://schemas.microsoft.com/office/drawing/2014/main" id="{7B38AA76-50F1-4AFA-8DA5-ECCCFB00F9F2}"/>
              </a:ext>
            </a:extLst>
          </p:cNvPr>
          <p:cNvSpPr txBox="1">
            <a:spLocks noChangeArrowheads="1"/>
          </p:cNvSpPr>
          <p:nvPr/>
        </p:nvSpPr>
        <p:spPr bwMode="auto">
          <a:xfrm>
            <a:off x="509588" y="5816600"/>
            <a:ext cx="5453062"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000000"/>
                </a:solidFill>
                <a:effectLst/>
                <a:uLnTx/>
                <a:uFillTx/>
                <a:latin typeface="Perpetua" panose="02020502060401020303" pitchFamily="18" charset="0"/>
                <a:ea typeface="+mn-ea"/>
                <a:cs typeface="Arial" panose="020B0604020202020204" pitchFamily="34" charset="0"/>
              </a:rPr>
              <a:t>. . . a Unified Regulatory System</a:t>
            </a: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Adam Smith">
            <a:extLst>
              <a:ext uri="{FF2B5EF4-FFF2-40B4-BE49-F238E27FC236}">
                <a16:creationId xmlns:a16="http://schemas.microsoft.com/office/drawing/2014/main" id="{3BF23AA5-BEB0-44E0-99D3-70811154F6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5688" y="0"/>
            <a:ext cx="3008312"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38D89551-BFC7-4CE7-A827-E6CCCC2AFA0B}"/>
              </a:ext>
            </a:extLst>
          </p:cNvPr>
          <p:cNvSpPr>
            <a:spLocks noGrp="1"/>
          </p:cNvSpPr>
          <p:nvPr>
            <p:ph idx="1"/>
          </p:nvPr>
        </p:nvSpPr>
        <p:spPr>
          <a:xfrm>
            <a:off x="533400" y="533400"/>
            <a:ext cx="5486400" cy="6096000"/>
          </a:xfrm>
        </p:spPr>
        <p:txBody>
          <a:bodyPr rtlCol="0">
            <a:normAutofit fontScale="92500" lnSpcReduction="20000"/>
          </a:bodyPr>
          <a:lstStyle/>
          <a:p>
            <a:pPr eaLnBrk="1" fontAlgn="auto" hangingPunct="1">
              <a:spcAft>
                <a:spcPts val="0"/>
              </a:spcAft>
              <a:defRPr/>
            </a:pPr>
            <a:r>
              <a:rPr lang="en-US" dirty="0"/>
              <a:t>“It is the maxim of every prudent master of a family, never to attempt to make at home what it will cost him more to make than to buy. . . . </a:t>
            </a:r>
            <a:r>
              <a:rPr lang="en-US" dirty="0">
                <a:solidFill>
                  <a:srgbClr val="FFFF00"/>
                </a:solidFill>
              </a:rPr>
              <a:t>If a foreign country can supply  us with a commodity cheaper than we ourselves can make it, better buy it of them with some part of the produce of our own industry, employed in a way in which we have some advantage.</a:t>
            </a:r>
          </a:p>
          <a:p>
            <a:pPr lvl="1" eaLnBrk="1" fontAlgn="auto" hangingPunct="1">
              <a:spcAft>
                <a:spcPts val="0"/>
              </a:spcAft>
              <a:defRPr/>
            </a:pPr>
            <a:r>
              <a:rPr lang="en-US" dirty="0"/>
              <a:t>Adam Smith, </a:t>
            </a:r>
            <a:r>
              <a:rPr lang="en-US" b="1" i="1" dirty="0"/>
              <a:t>An Inquiry into the Nature and Causes of the Wealth of Nations </a:t>
            </a:r>
            <a:r>
              <a:rPr lang="en-US" dirty="0"/>
              <a:t> (1776)</a:t>
            </a:r>
          </a:p>
        </p:txBody>
      </p:sp>
      <p:sp>
        <p:nvSpPr>
          <p:cNvPr id="2" name="Slide Number Placeholder 1">
            <a:extLst>
              <a:ext uri="{FF2B5EF4-FFF2-40B4-BE49-F238E27FC236}">
                <a16:creationId xmlns:a16="http://schemas.microsoft.com/office/drawing/2014/main" id="{E800A72D-A910-4453-B0F8-99F269B10393}"/>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1EED6D-84DA-42D5-A3BD-1D4973BEDF35}"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www.nocaptionneeded.com/wp-content/uploads/2007/08/workers-on-a-beam.jpg">
            <a:extLst>
              <a:ext uri="{FF2B5EF4-FFF2-40B4-BE49-F238E27FC236}">
                <a16:creationId xmlns:a16="http://schemas.microsoft.com/office/drawing/2014/main" id="{982D55D5-8C13-4F30-8711-1EFD6F58F6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706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Title 1">
            <a:extLst>
              <a:ext uri="{FF2B5EF4-FFF2-40B4-BE49-F238E27FC236}">
                <a16:creationId xmlns:a16="http://schemas.microsoft.com/office/drawing/2014/main" id="{4EDDE44F-94F9-4980-9125-0390A0B3AE19}"/>
              </a:ext>
            </a:extLst>
          </p:cNvPr>
          <p:cNvSpPr>
            <a:spLocks noGrp="1"/>
          </p:cNvSpPr>
          <p:nvPr>
            <p:ph type="title"/>
          </p:nvPr>
        </p:nvSpPr>
        <p:spPr>
          <a:xfrm>
            <a:off x="0" y="228600"/>
            <a:ext cx="8229600" cy="1143000"/>
          </a:xfrm>
        </p:spPr>
        <p:txBody>
          <a:bodyPr/>
          <a:lstStyle/>
          <a:p>
            <a:pPr eaLnBrk="1" hangingPunct="1"/>
            <a:r>
              <a:rPr lang="en-US" altLang="en-US">
                <a:solidFill>
                  <a:srgbClr val="FFFF00"/>
                </a:solidFill>
              </a:rPr>
              <a:t>What Is Goal of Protectionism?</a:t>
            </a:r>
          </a:p>
        </p:txBody>
      </p:sp>
      <p:sp>
        <p:nvSpPr>
          <p:cNvPr id="7172" name="Content Placeholder 2">
            <a:extLst>
              <a:ext uri="{FF2B5EF4-FFF2-40B4-BE49-F238E27FC236}">
                <a16:creationId xmlns:a16="http://schemas.microsoft.com/office/drawing/2014/main" id="{F097A757-2809-4D9C-AF1E-05D2D103C6C7}"/>
              </a:ext>
            </a:extLst>
          </p:cNvPr>
          <p:cNvSpPr>
            <a:spLocks noGrp="1"/>
          </p:cNvSpPr>
          <p:nvPr>
            <p:ph idx="1"/>
          </p:nvPr>
        </p:nvSpPr>
        <p:spPr>
          <a:xfrm>
            <a:off x="914400" y="4876800"/>
            <a:ext cx="8229600" cy="1981200"/>
          </a:xfrm>
          <a:solidFill>
            <a:schemeClr val="bg2"/>
          </a:solidFill>
        </p:spPr>
        <p:txBody>
          <a:bodyPr/>
          <a:lstStyle/>
          <a:p>
            <a:pPr eaLnBrk="1" hangingPunct="1"/>
            <a:r>
              <a:rPr lang="en-US" altLang="en-US" b="1"/>
              <a:t>Protect Jobs</a:t>
            </a:r>
          </a:p>
          <a:p>
            <a:pPr eaLnBrk="1" hangingPunct="1"/>
            <a:r>
              <a:rPr lang="en-US" altLang="en-US" b="1"/>
              <a:t>Industrial policy</a:t>
            </a:r>
          </a:p>
          <a:p>
            <a:pPr eaLnBrk="1" hangingPunct="1"/>
            <a:r>
              <a:rPr lang="en-US" altLang="en-US" b="1"/>
              <a:t>Ensure security of supply</a:t>
            </a:r>
          </a:p>
          <a:p>
            <a:pPr eaLnBrk="1" hangingPunct="1"/>
            <a:endParaRPr lang="en-US" altLang="en-US"/>
          </a:p>
        </p:txBody>
      </p:sp>
      <p:sp>
        <p:nvSpPr>
          <p:cNvPr id="2" name="Slide Number Placeholder 1">
            <a:extLst>
              <a:ext uri="{FF2B5EF4-FFF2-40B4-BE49-F238E27FC236}">
                <a16:creationId xmlns:a16="http://schemas.microsoft.com/office/drawing/2014/main" id="{B3BA846A-FB8C-4E06-8F4B-19A3051FAA84}"/>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A50C670-A079-420A-A73E-4EF8DDFFC6B2}"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4" descr="https://images-na.ssl-images-amazon.com/images/I/61iLz9evH-L._SL1024_.jpg">
            <a:extLst>
              <a:ext uri="{FF2B5EF4-FFF2-40B4-BE49-F238E27FC236}">
                <a16:creationId xmlns:a16="http://schemas.microsoft.com/office/drawing/2014/main" id="{8F04F593-EE41-40A3-BB51-977863A1F4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5213" y="744538"/>
            <a:ext cx="2998787" cy="436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TextBox 3">
            <a:extLst>
              <a:ext uri="{FF2B5EF4-FFF2-40B4-BE49-F238E27FC236}">
                <a16:creationId xmlns:a16="http://schemas.microsoft.com/office/drawing/2014/main" id="{43039A2D-0BD6-47B7-A8D1-44872CF5B549}"/>
              </a:ext>
            </a:extLst>
          </p:cNvPr>
          <p:cNvSpPr txBox="1">
            <a:spLocks noChangeArrowheads="1"/>
          </p:cNvSpPr>
          <p:nvPr/>
        </p:nvSpPr>
        <p:spPr bwMode="auto">
          <a:xfrm>
            <a:off x="228600" y="6207125"/>
            <a:ext cx="6553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Prewar Protectionism </a:t>
            </a:r>
          </a:p>
        </p:txBody>
      </p:sp>
      <p:pic>
        <p:nvPicPr>
          <p:cNvPr id="8196" name="Picture 2" descr="http://www.lawyersgunsmoneyblog.com/wp-content/uploads/2017/02/XC1991.232.2.jpeg">
            <a:extLst>
              <a:ext uri="{FF2B5EF4-FFF2-40B4-BE49-F238E27FC236}">
                <a16:creationId xmlns:a16="http://schemas.microsoft.com/office/drawing/2014/main" id="{0386F115-AE3F-4051-8329-72A58DA4EE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3400"/>
            <a:ext cx="35179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2" descr="Deutsche Kauft. Deutsche Ware. Deutsche Woche. Deutsche Arbeit. [German Commerce. German Goods. German Week. German Work]">
            <a:extLst>
              <a:ext uri="{FF2B5EF4-FFF2-40B4-BE49-F238E27FC236}">
                <a16:creationId xmlns:a16="http://schemas.microsoft.com/office/drawing/2014/main" id="{B894DE18-7112-4E2C-8469-0D10B77C48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2800" y="1905000"/>
            <a:ext cx="2990850" cy="407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D4D7E44F-616E-4875-8A7E-8EA199CAD459}"/>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44FC72C-6655-4622-9D6C-18D4968AE35D}"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2">
            <a:extLst>
              <a:ext uri="{FF2B5EF4-FFF2-40B4-BE49-F238E27FC236}">
                <a16:creationId xmlns:a16="http://schemas.microsoft.com/office/drawing/2014/main" id="{CD8BF969-3177-4DA2-822E-5698202B8631}"/>
              </a:ext>
            </a:extLst>
          </p:cNvPr>
          <p:cNvSpPr>
            <a:spLocks noGrp="1"/>
          </p:cNvSpPr>
          <p:nvPr>
            <p:ph idx="1"/>
          </p:nvPr>
        </p:nvSpPr>
        <p:spPr>
          <a:xfrm>
            <a:off x="5029200" y="457200"/>
            <a:ext cx="3657600" cy="5668963"/>
          </a:xfrm>
        </p:spPr>
        <p:txBody>
          <a:bodyPr/>
          <a:lstStyle/>
          <a:p>
            <a:pPr eaLnBrk="1" hangingPunct="1"/>
            <a:r>
              <a:rPr lang="en-US" altLang="en-US"/>
              <a:t>United States’ suggested charter for predecessor to World Trade Organization (1946)</a:t>
            </a:r>
          </a:p>
        </p:txBody>
      </p:sp>
      <p:pic>
        <p:nvPicPr>
          <p:cNvPr id="10243" name="Picture 2">
            <a:extLst>
              <a:ext uri="{FF2B5EF4-FFF2-40B4-BE49-F238E27FC236}">
                <a16:creationId xmlns:a16="http://schemas.microsoft.com/office/drawing/2014/main" id="{B7BE2AEB-12AB-4E61-A94B-25B9899A1A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086" t="7500" r="14758" b="5000"/>
          <a:stretch>
            <a:fillRect/>
          </a:stretch>
        </p:blipFill>
        <p:spPr bwMode="auto">
          <a:xfrm>
            <a:off x="228600" y="228600"/>
            <a:ext cx="4964113"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a:extLst>
              <a:ext uri="{FF2B5EF4-FFF2-40B4-BE49-F238E27FC236}">
                <a16:creationId xmlns:a16="http://schemas.microsoft.com/office/drawing/2014/main" id="{27A66E9B-B3EF-473B-9AD5-F5CD396167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086" t="7500" r="14758" b="5000"/>
          <a:stretch>
            <a:fillRect/>
          </a:stretch>
        </p:blipFill>
        <p:spPr bwMode="auto">
          <a:xfrm>
            <a:off x="228600" y="228600"/>
            <a:ext cx="4964113"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2" name="Picture 2">
            <a:extLst>
              <a:ext uri="{FF2B5EF4-FFF2-40B4-BE49-F238E27FC236}">
                <a16:creationId xmlns:a16="http://schemas.microsoft.com/office/drawing/2014/main" id="{1C3DB5AF-2715-479E-864C-87E67CE45077}"/>
              </a:ext>
            </a:extLst>
          </p:cNvPr>
          <p:cNvPicPr>
            <a:picLocks noChangeAspect="1" noChangeArrowheads="1"/>
          </p:cNvPicPr>
          <p:nvPr/>
        </p:nvPicPr>
        <p:blipFill>
          <a:blip r:embed="rId4"/>
          <a:srcRect l="15461" t="11250" r="49195" b="57500"/>
          <a:stretch>
            <a:fillRect/>
          </a:stretch>
        </p:blipFill>
        <p:spPr bwMode="auto">
          <a:xfrm>
            <a:off x="666750" y="2209800"/>
            <a:ext cx="7969250" cy="3962400"/>
          </a:xfrm>
          <a:prstGeom prst="rect">
            <a:avLst/>
          </a:prstGeom>
          <a:noFill/>
          <a:ln w="9525">
            <a:solidFill>
              <a:schemeClr val="accent1">
                <a:lumMod val="50000"/>
              </a:schemeClr>
            </a:solidFill>
            <a:miter lim="800000"/>
            <a:headEnd/>
            <a:tailEnd/>
          </a:ln>
        </p:spPr>
      </p:pic>
      <p:sp>
        <p:nvSpPr>
          <p:cNvPr id="6" name="Left Arrow 5">
            <a:extLst>
              <a:ext uri="{FF2B5EF4-FFF2-40B4-BE49-F238E27FC236}">
                <a16:creationId xmlns:a16="http://schemas.microsoft.com/office/drawing/2014/main" id="{7BDC4398-7646-4363-89C8-EDDE8822ACB1}"/>
              </a:ext>
            </a:extLst>
          </p:cNvPr>
          <p:cNvSpPr/>
          <p:nvPr/>
        </p:nvSpPr>
        <p:spPr>
          <a:xfrm>
            <a:off x="7620000" y="4191000"/>
            <a:ext cx="1524000" cy="990600"/>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75CA3FE8-8873-41D0-869B-88AB6B861FA6}"/>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EB7BE18-9F62-4016-9DBE-42C9A09CA301}"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B6605C35-9571-41EB-9DE6-C3A99EFA3A56}"/>
              </a:ext>
            </a:extLst>
          </p:cNvPr>
          <p:cNvSpPr>
            <a:spLocks noGrp="1"/>
          </p:cNvSpPr>
          <p:nvPr>
            <p:ph type="title"/>
          </p:nvPr>
        </p:nvSpPr>
        <p:spPr>
          <a:xfrm>
            <a:off x="601663" y="125413"/>
            <a:ext cx="8229600" cy="1143000"/>
          </a:xfrm>
        </p:spPr>
        <p:txBody>
          <a:bodyPr/>
          <a:lstStyle/>
          <a:p>
            <a:pPr eaLnBrk="1" hangingPunct="1"/>
            <a:r>
              <a:rPr lang="en-US" altLang="en-US" sz="2800" b="1"/>
              <a:t>U.S. Trade Agreements  Act:  </a:t>
            </a:r>
            <a:br>
              <a:rPr lang="en-US" altLang="en-US" sz="2800" b="1"/>
            </a:br>
            <a:r>
              <a:rPr lang="en-US" altLang="en-US" sz="2800" b="1"/>
              <a:t>A “Walled Garden”</a:t>
            </a:r>
          </a:p>
        </p:txBody>
      </p:sp>
      <p:graphicFrame>
        <p:nvGraphicFramePr>
          <p:cNvPr id="3" name="Diagram 2">
            <a:extLst>
              <a:ext uri="{FF2B5EF4-FFF2-40B4-BE49-F238E27FC236}">
                <a16:creationId xmlns:a16="http://schemas.microsoft.com/office/drawing/2014/main" id="{B79DDB78-A8B5-4D8B-AC2D-F56CA3A68491}"/>
              </a:ext>
            </a:extLst>
          </p:cNvPr>
          <p:cNvGraphicFramePr/>
          <p:nvPr/>
        </p:nvGraphicFramePr>
        <p:xfrm>
          <a:off x="1371600" y="1143000"/>
          <a:ext cx="65532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484" name="Picture 2" descr="https://www.cia.gov/library/publications/the-world-factbook/graphics/flags/large/ch-lgflag.gif">
            <a:extLst>
              <a:ext uri="{FF2B5EF4-FFF2-40B4-BE49-F238E27FC236}">
                <a16:creationId xmlns:a16="http://schemas.microsoft.com/office/drawing/2014/main" id="{D4501D14-1B26-4726-B7FD-D63C168D7F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6388" y="1281113"/>
            <a:ext cx="203835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4" descr="http://www.state.gov/cms_images/india_tajmahal_2003_06_252.jpg">
            <a:extLst>
              <a:ext uri="{FF2B5EF4-FFF2-40B4-BE49-F238E27FC236}">
                <a16:creationId xmlns:a16="http://schemas.microsoft.com/office/drawing/2014/main" id="{43968C1F-008F-4F7F-9CDE-0F66059848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6388" y="4167188"/>
            <a:ext cx="2087562"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6" descr="http://media.lonelyplanet.com/lpi/24034/24034-38/469x264.jpg">
            <a:extLst>
              <a:ext uri="{FF2B5EF4-FFF2-40B4-BE49-F238E27FC236}">
                <a16:creationId xmlns:a16="http://schemas.microsoft.com/office/drawing/2014/main" id="{06674AD2-6B93-48C3-B198-53E1074B99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07163" y="1125538"/>
            <a:ext cx="2605087" cy="146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7" name="Picture 2" descr="Flag of Brazil.svg">
            <a:extLst>
              <a:ext uri="{FF2B5EF4-FFF2-40B4-BE49-F238E27FC236}">
                <a16:creationId xmlns:a16="http://schemas.microsoft.com/office/drawing/2014/main" id="{412BA018-84C3-4F79-BC27-8D4E906AD0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11925" y="4572000"/>
            <a:ext cx="260985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1E2F96C3-0202-425F-BA3B-52B7E566614F}"/>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8EDB9E4-DEB3-4632-9E48-87221A826435}"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E828ADE1-0124-44A4-813E-7ACE498C1EB5}"/>
              </a:ext>
            </a:extLst>
          </p:cNvPr>
          <p:cNvSpPr>
            <a:spLocks noGrp="1"/>
          </p:cNvSpPr>
          <p:nvPr>
            <p:ph type="title"/>
          </p:nvPr>
        </p:nvSpPr>
        <p:spPr/>
        <p:txBody>
          <a:bodyPr rtlCol="0">
            <a:normAutofit fontScale="90000"/>
          </a:bodyPr>
          <a:lstStyle/>
          <a:p>
            <a:pPr eaLnBrk="1" fontAlgn="auto" hangingPunct="1">
              <a:spcAft>
                <a:spcPts val="0"/>
              </a:spcAft>
              <a:defRPr/>
            </a:pPr>
            <a:r>
              <a:rPr lang="en-US" dirty="0">
                <a:cs typeface="Arial" charset="0"/>
              </a:rPr>
              <a:t>U.S. Domestic Preference Law:  Supplies</a:t>
            </a:r>
          </a:p>
        </p:txBody>
      </p:sp>
      <p:graphicFrame>
        <p:nvGraphicFramePr>
          <p:cNvPr id="5" name="Content Placeholder 4">
            <a:extLst>
              <a:ext uri="{FF2B5EF4-FFF2-40B4-BE49-F238E27FC236}">
                <a16:creationId xmlns:a16="http://schemas.microsoft.com/office/drawing/2014/main" id="{EB9609FD-B57F-418C-B838-B9979D0E1600}"/>
              </a:ext>
            </a:extLst>
          </p:cNvPr>
          <p:cNvGraphicFramePr>
            <a:graphicFrameLocks noGrp="1"/>
          </p:cNvGraphicFramePr>
          <p:nvPr>
            <p:ph idx="1"/>
          </p:nvPr>
        </p:nvGraphicFramePr>
        <p:xfrm>
          <a:off x="457200" y="1901825"/>
          <a:ext cx="8229600" cy="4224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E828A283-A427-4433-8BD9-96E0328EFFE1}"/>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2E1902D-E66C-4943-A9AB-FE3ACA78C662}"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5C5D6-D776-4EB4-B1D2-BD2E77764658}"/>
              </a:ext>
            </a:extLst>
          </p:cNvPr>
          <p:cNvSpPr>
            <a:spLocks noGrp="1"/>
          </p:cNvSpPr>
          <p:nvPr>
            <p:ph type="title"/>
          </p:nvPr>
        </p:nvSpPr>
        <p:spPr/>
        <p:txBody>
          <a:bodyPr rtlCol="0">
            <a:normAutofit/>
          </a:bodyPr>
          <a:lstStyle/>
          <a:p>
            <a:pPr eaLnBrk="1" fontAlgn="auto" hangingPunct="1">
              <a:spcAft>
                <a:spcPts val="0"/>
              </a:spcAft>
              <a:defRPr/>
            </a:pPr>
            <a:r>
              <a:rPr lang="en-US" dirty="0"/>
              <a:t>Reciprocal Defense Procurement Agreements</a:t>
            </a:r>
          </a:p>
        </p:txBody>
      </p:sp>
      <p:sp>
        <p:nvSpPr>
          <p:cNvPr id="3" name="Slide Number Placeholder 2">
            <a:extLst>
              <a:ext uri="{FF2B5EF4-FFF2-40B4-BE49-F238E27FC236}">
                <a16:creationId xmlns:a16="http://schemas.microsoft.com/office/drawing/2014/main" id="{40AB5581-7980-4CD0-81DF-F1E26E2ABD41}"/>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F001B2B-C2AA-4CB2-B18E-C392D2F3A7E4}"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D930C879-109C-4439-AACF-6B149B51252F}"/>
              </a:ext>
            </a:extLst>
          </p:cNvPr>
          <p:cNvSpPr>
            <a:spLocks noGrp="1"/>
          </p:cNvSpPr>
          <p:nvPr>
            <p:ph type="title"/>
          </p:nvPr>
        </p:nvSpPr>
        <p:spPr/>
        <p:txBody>
          <a:bodyPr rtlCol="0">
            <a:normAutofit fontScale="90000"/>
          </a:bodyPr>
          <a:lstStyle/>
          <a:p>
            <a:pPr eaLnBrk="1" fontAlgn="auto" hangingPunct="1">
              <a:spcAft>
                <a:spcPts val="0"/>
              </a:spcAft>
              <a:defRPr/>
            </a:pPr>
            <a:r>
              <a:rPr lang="en-US"/>
              <a:t>Defense – Memoranda of Understanding</a:t>
            </a:r>
          </a:p>
        </p:txBody>
      </p:sp>
      <p:sp>
        <p:nvSpPr>
          <p:cNvPr id="26627" name="Content Placeholder 2">
            <a:extLst>
              <a:ext uri="{FF2B5EF4-FFF2-40B4-BE49-F238E27FC236}">
                <a16:creationId xmlns:a16="http://schemas.microsoft.com/office/drawing/2014/main" id="{DFB96589-403E-4E76-98C8-E4B436E818D3}"/>
              </a:ext>
            </a:extLst>
          </p:cNvPr>
          <p:cNvSpPr>
            <a:spLocks noGrp="1"/>
          </p:cNvSpPr>
          <p:nvPr>
            <p:ph idx="1"/>
          </p:nvPr>
        </p:nvSpPr>
        <p:spPr/>
        <p:txBody>
          <a:bodyPr/>
          <a:lstStyle/>
          <a:p>
            <a:pPr eaLnBrk="1" hangingPunct="1"/>
            <a:endParaRPr lang="en-US" altLang="en-US"/>
          </a:p>
        </p:txBody>
      </p:sp>
      <p:pic>
        <p:nvPicPr>
          <p:cNvPr id="26628" name="Picture 2">
            <a:extLst>
              <a:ext uri="{FF2B5EF4-FFF2-40B4-BE49-F238E27FC236}">
                <a16:creationId xmlns:a16="http://schemas.microsoft.com/office/drawing/2014/main" id="{6659A1D2-943D-4F9E-815B-C0B557AD4F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434" t="3751" r="14056" b="6250"/>
          <a:stretch>
            <a:fillRect/>
          </a:stretch>
        </p:blipFill>
        <p:spPr bwMode="auto">
          <a:xfrm>
            <a:off x="762000" y="1524000"/>
            <a:ext cx="7140575" cy="507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9" name="TextBox 4">
            <a:extLst>
              <a:ext uri="{FF2B5EF4-FFF2-40B4-BE49-F238E27FC236}">
                <a16:creationId xmlns:a16="http://schemas.microsoft.com/office/drawing/2014/main" id="{50034867-D87A-482A-A628-147CF95FD5AC}"/>
              </a:ext>
            </a:extLst>
          </p:cNvPr>
          <p:cNvSpPr txBox="1">
            <a:spLocks noChangeArrowheads="1"/>
          </p:cNvSpPr>
          <p:nvPr/>
        </p:nvSpPr>
        <p:spPr bwMode="auto">
          <a:xfrm>
            <a:off x="3733800" y="4267200"/>
            <a:ext cx="4114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26630" name="TextBox 5">
            <a:extLst>
              <a:ext uri="{FF2B5EF4-FFF2-40B4-BE49-F238E27FC236}">
                <a16:creationId xmlns:a16="http://schemas.microsoft.com/office/drawing/2014/main" id="{169B3459-E85C-4249-96CD-CBC437239161}"/>
              </a:ext>
            </a:extLst>
          </p:cNvPr>
          <p:cNvSpPr txBox="1">
            <a:spLocks noChangeArrowheads="1"/>
          </p:cNvSpPr>
          <p:nvPr/>
        </p:nvSpPr>
        <p:spPr bwMode="auto">
          <a:xfrm>
            <a:off x="3429000" y="4038600"/>
            <a:ext cx="3657600" cy="2308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Authority for the defense MOUs rests in the “public interest” exception to the BAA. The agreements serve as a national security benefit, enhance alliance-wide security objectives, and serve as an underpinning for armaments cooperation. – Text § 2:21</a:t>
            </a:r>
          </a:p>
        </p:txBody>
      </p:sp>
      <p:sp>
        <p:nvSpPr>
          <p:cNvPr id="3" name="Slide Number Placeholder 2">
            <a:extLst>
              <a:ext uri="{FF2B5EF4-FFF2-40B4-BE49-F238E27FC236}">
                <a16:creationId xmlns:a16="http://schemas.microsoft.com/office/drawing/2014/main" id="{AB7FB8F6-7728-477A-92DE-984BF87DEFBF}"/>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659553-8402-4539-A02D-D3839ECB6DE1}"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9E3A1-3987-42FB-B87A-82F2EFF8D615}"/>
              </a:ext>
            </a:extLst>
          </p:cNvPr>
          <p:cNvSpPr>
            <a:spLocks noGrp="1"/>
          </p:cNvSpPr>
          <p:nvPr>
            <p:ph type="title"/>
          </p:nvPr>
        </p:nvSpPr>
        <p:spPr>
          <a:xfrm>
            <a:off x="228600" y="5495925"/>
            <a:ext cx="7772400" cy="1362075"/>
          </a:xfrm>
        </p:spPr>
        <p:txBody>
          <a:bodyPr/>
          <a:lstStyle/>
          <a:p>
            <a:r>
              <a:rPr lang="en-US" dirty="0"/>
              <a:t>Trump Administration</a:t>
            </a:r>
          </a:p>
        </p:txBody>
      </p:sp>
      <p:sp>
        <p:nvSpPr>
          <p:cNvPr id="4" name="Slide Number Placeholder 3">
            <a:extLst>
              <a:ext uri="{FF2B5EF4-FFF2-40B4-BE49-F238E27FC236}">
                <a16:creationId xmlns:a16="http://schemas.microsoft.com/office/drawing/2014/main" id="{D867C76A-DF8F-4B6D-BBDD-00BB1865753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7D43392-A778-4A9D-A4DC-218667331825}"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pic>
        <p:nvPicPr>
          <p:cNvPr id="55298" name="Picture 2" descr="https://upload.wikimedia.org/wikipedia/commons/e/ea/Peter_Navarro%2C_Director_of_the_White_House_National_Trade_Council%2C_Addresses_in_the_Oval_Office_before_U.S._President_Donald_Trump_Signs_Executive_Orders_Regarding_Trade_on_March_31%2C_2017_4.jpg">
            <a:extLst>
              <a:ext uri="{FF2B5EF4-FFF2-40B4-BE49-F238E27FC236}">
                <a16:creationId xmlns:a16="http://schemas.microsoft.com/office/drawing/2014/main" id="{E065746A-9F52-4A5B-9C31-9C8B554D30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3706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A06CEB5-E05B-4840-BCFF-4D4F1D9EA58F}"/>
              </a:ext>
            </a:extLst>
          </p:cNvPr>
          <p:cNvGraphicFramePr/>
          <p:nvPr/>
        </p:nvGraphicFramePr>
        <p:xfrm>
          <a:off x="838200" y="457200"/>
          <a:ext cx="7620000" cy="5003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8915" name="Rectangle 3">
            <a:extLst>
              <a:ext uri="{FF2B5EF4-FFF2-40B4-BE49-F238E27FC236}">
                <a16:creationId xmlns:a16="http://schemas.microsoft.com/office/drawing/2014/main" id="{27548649-16F2-43EF-9110-BEBED8ABD2C2}"/>
              </a:ext>
            </a:extLst>
          </p:cNvPr>
          <p:cNvSpPr>
            <a:spLocks noChangeArrowheads="1"/>
          </p:cNvSpPr>
          <p:nvPr/>
        </p:nvSpPr>
        <p:spPr bwMode="auto">
          <a:xfrm>
            <a:off x="304800" y="5943600"/>
            <a:ext cx="5638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 . A Uniform Set of Regulations</a:t>
            </a:r>
          </a:p>
        </p:txBody>
      </p:sp>
      <p:sp>
        <p:nvSpPr>
          <p:cNvPr id="38916" name="Left Arrow Callout 4">
            <a:extLst>
              <a:ext uri="{FF2B5EF4-FFF2-40B4-BE49-F238E27FC236}">
                <a16:creationId xmlns:a16="http://schemas.microsoft.com/office/drawing/2014/main" id="{558CF3DC-4C18-4B51-AE8E-86B588A5642F}"/>
              </a:ext>
            </a:extLst>
          </p:cNvPr>
          <p:cNvSpPr>
            <a:spLocks noChangeArrowheads="1"/>
          </p:cNvSpPr>
          <p:nvPr/>
        </p:nvSpPr>
        <p:spPr bwMode="auto">
          <a:xfrm>
            <a:off x="4800600" y="0"/>
            <a:ext cx="4114800" cy="6858000"/>
          </a:xfrm>
          <a:prstGeom prst="leftArrowCallout">
            <a:avLst>
              <a:gd name="adj1" fmla="val 25000"/>
              <a:gd name="adj2" fmla="val 25000"/>
              <a:gd name="adj3" fmla="val 25000"/>
              <a:gd name="adj4" fmla="val 64977"/>
            </a:avLst>
          </a:prstGeom>
          <a:solidFill>
            <a:srgbClr val="FF00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Defense Authorization Act = Annual vehicle for reform</a:t>
            </a:r>
          </a:p>
        </p:txBody>
      </p:sp>
      <p:pic>
        <p:nvPicPr>
          <p:cNvPr id="38917" name="Picture 2">
            <a:extLst>
              <a:ext uri="{FF2B5EF4-FFF2-40B4-BE49-F238E27FC236}">
                <a16:creationId xmlns:a16="http://schemas.microsoft.com/office/drawing/2014/main" id="{92A01E31-8538-4526-BBB2-C0FB1B5CF9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800" y="381000"/>
            <a:ext cx="2209800" cy="140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7EB207F7-69C3-4764-8756-60FFD4FF1429}"/>
              </a:ext>
            </a:extLst>
          </p:cNvPr>
          <p:cNvSpPr>
            <a:spLocks noChangeArrowheads="1"/>
          </p:cNvSpPr>
          <p:nvPr/>
        </p:nvSpPr>
        <p:spPr bwMode="auto">
          <a:xfrm>
            <a:off x="1410056" y="743694"/>
            <a:ext cx="14542042"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3" name="Object 2">
            <a:extLst>
              <a:ext uri="{FF2B5EF4-FFF2-40B4-BE49-F238E27FC236}">
                <a16:creationId xmlns:a16="http://schemas.microsoft.com/office/drawing/2014/main" id="{1295437B-763E-4191-8464-A0624A773680}"/>
              </a:ext>
            </a:extLst>
          </p:cNvPr>
          <p:cNvGraphicFramePr>
            <a:graphicFrameLocks noChangeAspect="1"/>
          </p:cNvGraphicFramePr>
          <p:nvPr/>
        </p:nvGraphicFramePr>
        <p:xfrm>
          <a:off x="6269" y="0"/>
          <a:ext cx="9137731" cy="7024831"/>
        </p:xfrm>
        <a:graphic>
          <a:graphicData uri="http://schemas.openxmlformats.org/presentationml/2006/ole">
            <mc:AlternateContent xmlns:mc="http://schemas.openxmlformats.org/markup-compatibility/2006">
              <mc:Choice xmlns:v="urn:schemas-microsoft-com:vml" Requires="v">
                <p:oleObj spid="_x0000_s2050" name="Presentation" r:id="rId3" imgW="4570388" imgH="3427437" progId="PowerPoint.Show.12">
                  <p:embed/>
                </p:oleObj>
              </mc:Choice>
              <mc:Fallback>
                <p:oleObj name="Presentation" r:id="rId3" imgW="4570388" imgH="3427437" progId="PowerPoint.Show.12">
                  <p:embed/>
                  <p:pic>
                    <p:nvPicPr>
                      <p:cNvPr id="3" name="Object 2">
                        <a:extLst>
                          <a:ext uri="{FF2B5EF4-FFF2-40B4-BE49-F238E27FC236}">
                            <a16:creationId xmlns:a16="http://schemas.microsoft.com/office/drawing/2014/main" id="{1295437B-763E-4191-8464-A0624A773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69" y="0"/>
                        <a:ext cx="9137731" cy="7024831"/>
                      </a:xfrm>
                      <a:prstGeom prst="rect">
                        <a:avLst/>
                      </a:prstGeom>
                      <a:noFill/>
                    </p:spPr>
                  </p:pic>
                </p:oleObj>
              </mc:Fallback>
            </mc:AlternateContent>
          </a:graphicData>
        </a:graphic>
      </p:graphicFrame>
      <p:sp>
        <p:nvSpPr>
          <p:cNvPr id="4" name="TextBox 3">
            <a:extLst>
              <a:ext uri="{FF2B5EF4-FFF2-40B4-BE49-F238E27FC236}">
                <a16:creationId xmlns:a16="http://schemas.microsoft.com/office/drawing/2014/main" id="{B54810BB-CC08-483E-8AA3-A14F43466D4C}"/>
              </a:ext>
            </a:extLst>
          </p:cNvPr>
          <p:cNvSpPr txBox="1"/>
          <p:nvPr/>
        </p:nvSpPr>
        <p:spPr>
          <a:xfrm>
            <a:off x="6781800" y="1447800"/>
            <a:ext cx="1478423" cy="830997"/>
          </a:xfrm>
          <a:prstGeom prst="rect">
            <a:avLst/>
          </a:prstGeom>
          <a:solidFill>
            <a:srgbClr val="FFFF0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rPr>
              <a:t>February 2017</a:t>
            </a:r>
          </a:p>
        </p:txBody>
      </p:sp>
    </p:spTree>
    <p:extLst>
      <p:ext uri="{BB962C8B-B14F-4D97-AF65-F5344CB8AC3E}">
        <p14:creationId xmlns:p14="http://schemas.microsoft.com/office/powerpoint/2010/main" val="33585109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890BE246-46AA-49B3-A56F-043BFAF16F9E}"/>
              </a:ext>
            </a:extLst>
          </p:cNvPr>
          <p:cNvSpPr>
            <a:spLocks noGrp="1"/>
          </p:cNvSpPr>
          <p:nvPr>
            <p:ph type="title"/>
          </p:nvPr>
        </p:nvSpPr>
        <p:spPr>
          <a:xfrm>
            <a:off x="457200" y="1143000"/>
            <a:ext cx="8229600" cy="1069975"/>
          </a:xfrm>
        </p:spPr>
        <p:txBody>
          <a:bodyPr/>
          <a:lstStyle/>
          <a:p>
            <a:pPr eaLnBrk="1" hangingPunct="1"/>
            <a:endParaRPr lang="en-US" altLang="en-US"/>
          </a:p>
        </p:txBody>
      </p:sp>
      <p:pic>
        <p:nvPicPr>
          <p:cNvPr id="21507" name="Picture 2" descr="http://www.trbimg.com/img-58f79607/turbine/sd-trump-buy-american-hire-american-20170418">
            <a:extLst>
              <a:ext uri="{FF2B5EF4-FFF2-40B4-BE49-F238E27FC236}">
                <a16:creationId xmlns:a16="http://schemas.microsoft.com/office/drawing/2014/main" id="{B23FBAA3-B467-4636-9223-1714FBF508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1588"/>
            <a:ext cx="96774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8E12E92F-D3E2-40E5-AD70-EFBA874490FA}"/>
              </a:ext>
            </a:extLst>
          </p:cNvPr>
          <p:cNvSpPr>
            <a:spLocks noGrp="1"/>
          </p:cNvSpPr>
          <p:nvPr>
            <p:ph type="sldNum" sz="quarter" idx="12"/>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738A1FD-3C50-4EE5-A6E3-FBD32BEC75D2}" type="slidenum">
              <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5921092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DD5E9341-BF8E-4C60-9C49-FAB36870A7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266700"/>
            <a:ext cx="8610600" cy="6378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4E65A078-9AB6-4535-8831-DD7E392A2100}"/>
              </a:ext>
            </a:extLst>
          </p:cNvPr>
          <p:cNvSpPr>
            <a:spLocks noGrp="1"/>
          </p:cNvSpPr>
          <p:nvPr>
            <p:ph type="title"/>
          </p:nvPr>
        </p:nvSpPr>
        <p:spPr>
          <a:xfrm>
            <a:off x="1600200" y="838200"/>
            <a:ext cx="7772400" cy="1362075"/>
          </a:xfrm>
        </p:spPr>
        <p:txBody>
          <a:bodyPr rtlCol="0">
            <a:normAutofit/>
          </a:bodyPr>
          <a:lstStyle/>
          <a:p>
            <a:pPr eaLnBrk="1" fontAlgn="auto" hangingPunct="1">
              <a:spcAft>
                <a:spcPts val="0"/>
              </a:spcAft>
              <a:defRPr/>
            </a:pPr>
            <a:r>
              <a:rPr lang="en-US" dirty="0"/>
              <a:t>The </a:t>
            </a:r>
            <a:r>
              <a:rPr lang="en-US" dirty="0" err="1"/>
              <a:t>RECIPROCity</a:t>
            </a:r>
            <a:r>
              <a:rPr lang="en-US" dirty="0"/>
              <a:t> CONCEPT</a:t>
            </a:r>
          </a:p>
        </p:txBody>
      </p:sp>
      <p:sp>
        <p:nvSpPr>
          <p:cNvPr id="3" name="Slide Number Placeholder 2">
            <a:extLst>
              <a:ext uri="{FF2B5EF4-FFF2-40B4-BE49-F238E27FC236}">
                <a16:creationId xmlns:a16="http://schemas.microsoft.com/office/drawing/2014/main" id="{7B13920E-5C15-4D0C-9AA1-CEBE93A8F827}"/>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4A93829-26E5-49C0-878B-AF6A938A0ED4}"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8338689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3">
            <a:extLst>
              <a:ext uri="{FF2B5EF4-FFF2-40B4-BE49-F238E27FC236}">
                <a16:creationId xmlns:a16="http://schemas.microsoft.com/office/drawing/2014/main" id="{3675006D-4106-4691-9D70-C058E816F5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0200" y="481013"/>
            <a:ext cx="5562600" cy="6303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627" name="TextBox 1">
            <a:extLst>
              <a:ext uri="{FF2B5EF4-FFF2-40B4-BE49-F238E27FC236}">
                <a16:creationId xmlns:a16="http://schemas.microsoft.com/office/drawing/2014/main" id="{2A303FFA-6E0C-42C1-8FBB-6E00EC587FF8}"/>
              </a:ext>
            </a:extLst>
          </p:cNvPr>
          <p:cNvSpPr txBox="1">
            <a:spLocks noChangeArrowheads="1"/>
          </p:cNvSpPr>
          <p:nvPr/>
        </p:nvSpPr>
        <p:spPr bwMode="auto">
          <a:xfrm>
            <a:off x="228600" y="552450"/>
            <a:ext cx="5638800" cy="647700"/>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anose="02040502050405020303" pitchFamily="18" charset="0"/>
              <a:buChar char="•"/>
              <a:defRPr sz="2800">
                <a:solidFill>
                  <a:schemeClr val="tx1"/>
                </a:solidFill>
                <a:latin typeface="Georgia" panose="02040502050405020303" pitchFamily="18" charset="0"/>
              </a:defRPr>
            </a:lvl1pPr>
            <a:lvl2pPr marL="742950" indent="-285750" eaLnBrk="0" hangingPunct="0">
              <a:spcBef>
                <a:spcPts val="300"/>
              </a:spcBef>
              <a:buClr>
                <a:schemeClr val="accent2"/>
              </a:buClr>
              <a:buFont typeface="Georgia" panose="02040502050405020303" pitchFamily="18" charset="0"/>
              <a:buChar char="▫"/>
              <a:defRPr sz="2600">
                <a:solidFill>
                  <a:schemeClr val="accent2"/>
                </a:solidFill>
                <a:latin typeface="Georgia" panose="02040502050405020303" pitchFamily="18" charset="0"/>
              </a:defRPr>
            </a:lvl2pPr>
            <a:lvl3pPr marL="1143000" indent="-228600" eaLnBrk="0" hangingPunct="0">
              <a:spcBef>
                <a:spcPts val="300"/>
              </a:spcBef>
              <a:buClr>
                <a:schemeClr val="accent1"/>
              </a:buClr>
              <a:buFont typeface="Wingdings 2" panose="05020102010507070707" pitchFamily="18" charset="2"/>
              <a:buChar char=""/>
              <a:defRPr sz="2400">
                <a:solidFill>
                  <a:schemeClr val="accent1"/>
                </a:solidFill>
                <a:latin typeface="Georgia" panose="02040502050405020303" pitchFamily="18" charset="0"/>
              </a:defRPr>
            </a:lvl3pPr>
            <a:lvl4pPr marL="1600200" indent="-228600" eaLnBrk="0" hangingPunct="0">
              <a:spcBef>
                <a:spcPts val="300"/>
              </a:spcBef>
              <a:buClr>
                <a:schemeClr val="accent1"/>
              </a:buClr>
              <a:buFont typeface="Wingdings 2" panose="05020102010507070707" pitchFamily="18" charset="2"/>
              <a:buChar char=""/>
              <a:defRPr sz="2200">
                <a:solidFill>
                  <a:schemeClr val="accent1"/>
                </a:solidFill>
                <a:latin typeface="Georgia" panose="02040502050405020303" pitchFamily="18" charset="0"/>
              </a:defRPr>
            </a:lvl4pPr>
            <a:lvl5pPr marL="2057400" indent="-228600" eaLnBrk="0" hangingPunct="0">
              <a:spcBef>
                <a:spcPts val="300"/>
              </a:spcBef>
              <a:buClr>
                <a:srgbClr val="A04DA3"/>
              </a:buClr>
              <a:buFont typeface="Georgia" panose="02040502050405020303" pitchFamily="18" charset="0"/>
              <a:buChar char="▫"/>
              <a:defRPr sz="2000">
                <a:solidFill>
                  <a:srgbClr val="A04DA3"/>
                </a:solidFill>
                <a:latin typeface="Georgia" panose="02040502050405020303" pitchFamily="18" charset="0"/>
              </a:defRPr>
            </a:lvl5pPr>
            <a:lvl6pPr marL="25146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6pPr>
            <a:lvl7pPr marL="29718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7pPr>
            <a:lvl8pPr marL="34290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8pPr>
            <a:lvl9pPr marL="38862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Georgia" panose="02040502050405020303" pitchFamily="18" charset="0"/>
                <a:ea typeface="+mn-ea"/>
                <a:cs typeface="Arial" panose="020B0604020202020204" pitchFamily="34" charset="0"/>
              </a:rPr>
              <a:t>U.S. – Mexico – Canada Agreement (USMC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Georgia" panose="02040502050405020303" pitchFamily="18" charset="0"/>
                <a:ea typeface="+mn-ea"/>
                <a:cs typeface="Arial" panose="020B0604020202020204" pitchFamily="34" charset="0"/>
              </a:rPr>
              <a:t>Procurement Chapter </a:t>
            </a:r>
          </a:p>
        </p:txBody>
      </p:sp>
      <p:cxnSp>
        <p:nvCxnSpPr>
          <p:cNvPr id="7" name="Straight Connector 6">
            <a:extLst>
              <a:ext uri="{FF2B5EF4-FFF2-40B4-BE49-F238E27FC236}">
                <a16:creationId xmlns:a16="http://schemas.microsoft.com/office/drawing/2014/main" id="{1380075E-3461-4197-8F42-572AF5F67680}"/>
              </a:ext>
            </a:extLst>
          </p:cNvPr>
          <p:cNvCxnSpPr/>
          <p:nvPr/>
        </p:nvCxnSpPr>
        <p:spPr>
          <a:xfrm flipV="1">
            <a:off x="3048000" y="2667000"/>
            <a:ext cx="3733800" cy="762000"/>
          </a:xfrm>
          <a:prstGeom prst="line">
            <a:avLst/>
          </a:prstGeom>
          <a:ln w="1524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5D449E8-5B7C-44C1-AAF3-632F312CD0E1}"/>
              </a:ext>
            </a:extLst>
          </p:cNvPr>
          <p:cNvCxnSpPr/>
          <p:nvPr/>
        </p:nvCxnSpPr>
        <p:spPr>
          <a:xfrm>
            <a:off x="3048000" y="2133600"/>
            <a:ext cx="3657600" cy="2057400"/>
          </a:xfrm>
          <a:prstGeom prst="line">
            <a:avLst/>
          </a:prstGeom>
          <a:ln w="152400">
            <a:solidFill>
              <a:srgbClr val="7030A0"/>
            </a:solidFill>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C6E122FE-CD8A-426E-8DB4-9B323B299521}"/>
              </a:ext>
            </a:extLst>
          </p:cNvPr>
          <p:cNvSpPr>
            <a:spLocks noGrp="1"/>
          </p:cNvSpPr>
          <p:nvPr>
            <p:ph type="sldNum" sz="quarter" idx="12"/>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BF024A2-2C88-4ECA-8688-DF6EEDEDC725}" type="slidenum">
              <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9415654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33A2C12-702E-418B-92A2-48805D7B5EB7}"/>
              </a:ext>
            </a:extLst>
          </p:cNvPr>
          <p:cNvGraphicFramePr>
            <a:graphicFrameLocks noGrp="1"/>
          </p:cNvGraphicFramePr>
          <p:nvPr/>
        </p:nvGraphicFramePr>
        <p:xfrm>
          <a:off x="533400" y="457200"/>
          <a:ext cx="7807314" cy="3799852"/>
        </p:xfrm>
        <a:graphic>
          <a:graphicData uri="http://schemas.openxmlformats.org/drawingml/2006/table">
            <a:tbl>
              <a:tblPr firstRow="1" firstCol="1" bandRow="1">
                <a:tableStyleId>{5C22544A-7EE6-4342-B048-85BDC9FD1C3A}</a:tableStyleId>
              </a:tblPr>
              <a:tblGrid>
                <a:gridCol w="3227302">
                  <a:extLst>
                    <a:ext uri="{9D8B030D-6E8A-4147-A177-3AD203B41FA5}">
                      <a16:colId xmlns:a16="http://schemas.microsoft.com/office/drawing/2014/main" val="2181991686"/>
                    </a:ext>
                  </a:extLst>
                </a:gridCol>
                <a:gridCol w="2179367">
                  <a:extLst>
                    <a:ext uri="{9D8B030D-6E8A-4147-A177-3AD203B41FA5}">
                      <a16:colId xmlns:a16="http://schemas.microsoft.com/office/drawing/2014/main" val="409541853"/>
                    </a:ext>
                  </a:extLst>
                </a:gridCol>
                <a:gridCol w="2400645">
                  <a:extLst>
                    <a:ext uri="{9D8B030D-6E8A-4147-A177-3AD203B41FA5}">
                      <a16:colId xmlns:a16="http://schemas.microsoft.com/office/drawing/2014/main" val="190664742"/>
                    </a:ext>
                  </a:extLst>
                </a:gridCol>
              </a:tblGrid>
              <a:tr h="968914">
                <a:tc gridSpan="3">
                  <a:txBody>
                    <a:bodyPr/>
                    <a:lstStyle/>
                    <a:p>
                      <a:pPr marL="0" marR="0" algn="ctr">
                        <a:spcBef>
                          <a:spcPts val="0"/>
                        </a:spcBef>
                        <a:spcAft>
                          <a:spcPts val="0"/>
                        </a:spcAft>
                      </a:pPr>
                      <a:r>
                        <a:rPr lang="en-US" sz="2700" dirty="0">
                          <a:effectLst/>
                        </a:rPr>
                        <a:t>Price Preferences Applied Against Foreign Items Under Buy American Act</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6453465"/>
                  </a:ext>
                </a:extLst>
              </a:tr>
              <a:tr h="943646">
                <a:tc>
                  <a:txBody>
                    <a:bodyPr/>
                    <a:lstStyle/>
                    <a:p>
                      <a:pPr marL="0" marR="0">
                        <a:spcBef>
                          <a:spcPts val="0"/>
                        </a:spcBef>
                        <a:spcAft>
                          <a:spcPts val="0"/>
                        </a:spcAft>
                      </a:pPr>
                      <a:r>
                        <a:rPr lang="en-US" sz="2700" dirty="0">
                          <a:effectLst/>
                        </a:rPr>
                        <a:t> </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Small Businesses</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Other Businesses</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1661281832"/>
                  </a:ext>
                </a:extLst>
              </a:tr>
              <a:tr h="943646">
                <a:tc>
                  <a:txBody>
                    <a:bodyPr/>
                    <a:lstStyle/>
                    <a:p>
                      <a:pPr marL="0" marR="0">
                        <a:spcBef>
                          <a:spcPts val="0"/>
                        </a:spcBef>
                        <a:spcAft>
                          <a:spcPts val="0"/>
                        </a:spcAft>
                      </a:pPr>
                      <a:r>
                        <a:rPr lang="en-US" sz="2700" dirty="0">
                          <a:effectLst/>
                        </a:rPr>
                        <a:t>Existing Law</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12%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6% price preference</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4219140330"/>
                  </a:ext>
                </a:extLst>
              </a:tr>
              <a:tr h="943646">
                <a:tc>
                  <a:txBody>
                    <a:bodyPr/>
                    <a:lstStyle/>
                    <a:p>
                      <a:pPr marL="0" marR="0">
                        <a:spcBef>
                          <a:spcPts val="0"/>
                        </a:spcBef>
                        <a:spcAft>
                          <a:spcPts val="0"/>
                        </a:spcAft>
                      </a:pPr>
                      <a:r>
                        <a:rPr lang="en-US" sz="2700">
                          <a:effectLst/>
                        </a:rPr>
                        <a:t>Trump Proposal</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30%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20%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793318973"/>
                  </a:ext>
                </a:extLst>
              </a:tr>
            </a:tbl>
          </a:graphicData>
        </a:graphic>
      </p:graphicFrame>
      <p:sp>
        <p:nvSpPr>
          <p:cNvPr id="3" name="Rectangle 1">
            <a:extLst>
              <a:ext uri="{FF2B5EF4-FFF2-40B4-BE49-F238E27FC236}">
                <a16:creationId xmlns:a16="http://schemas.microsoft.com/office/drawing/2014/main" id="{2742DE9E-033E-412C-9C92-651B19A414DB}"/>
              </a:ext>
            </a:extLst>
          </p:cNvPr>
          <p:cNvSpPr>
            <a:spLocks noChangeArrowheads="1"/>
          </p:cNvSpPr>
          <p:nvPr/>
        </p:nvSpPr>
        <p:spPr bwMode="auto">
          <a:xfrm>
            <a:off x="2345531" y="2924659"/>
            <a:ext cx="12743820"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C76093A5-8AAF-4B7D-8BB5-D9C24448E431}"/>
              </a:ext>
            </a:extLst>
          </p:cNvPr>
          <p:cNvPicPr>
            <a:picLocks noChangeAspect="1"/>
          </p:cNvPicPr>
          <p:nvPr/>
        </p:nvPicPr>
        <p:blipFill>
          <a:blip r:embed="rId2"/>
          <a:stretch>
            <a:fillRect/>
          </a:stretch>
        </p:blipFill>
        <p:spPr>
          <a:xfrm>
            <a:off x="1437084" y="4361324"/>
            <a:ext cx="6269831" cy="2363187"/>
          </a:xfrm>
          <a:prstGeom prst="rect">
            <a:avLst/>
          </a:prstGeom>
        </p:spPr>
      </p:pic>
    </p:spTree>
    <p:extLst>
      <p:ext uri="{BB962C8B-B14F-4D97-AF65-F5344CB8AC3E}">
        <p14:creationId xmlns:p14="http://schemas.microsoft.com/office/powerpoint/2010/main" val="19207361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26D82D6-39EC-4553-8957-4ED1AF143B0C}"/>
              </a:ext>
            </a:extLst>
          </p:cNvPr>
          <p:cNvGraphicFramePr>
            <a:graphicFrameLocks noGrp="1"/>
          </p:cNvGraphicFramePr>
          <p:nvPr/>
        </p:nvGraphicFramePr>
        <p:xfrm>
          <a:off x="0" y="0"/>
          <a:ext cx="9144000" cy="6858000"/>
        </p:xfrm>
        <a:graphic>
          <a:graphicData uri="http://schemas.openxmlformats.org/drawingml/2006/table">
            <a:tbl>
              <a:tblPr firstRow="1" firstCol="1" bandRow="1">
                <a:tableStyleId>{5C22544A-7EE6-4342-B048-85BDC9FD1C3A}</a:tableStyleId>
              </a:tblPr>
              <a:tblGrid>
                <a:gridCol w="1676400">
                  <a:extLst>
                    <a:ext uri="{9D8B030D-6E8A-4147-A177-3AD203B41FA5}">
                      <a16:colId xmlns:a16="http://schemas.microsoft.com/office/drawing/2014/main" val="4178045812"/>
                    </a:ext>
                  </a:extLst>
                </a:gridCol>
                <a:gridCol w="7467600">
                  <a:extLst>
                    <a:ext uri="{9D8B030D-6E8A-4147-A177-3AD203B41FA5}">
                      <a16:colId xmlns:a16="http://schemas.microsoft.com/office/drawing/2014/main" val="3719925569"/>
                    </a:ext>
                  </a:extLst>
                </a:gridCol>
              </a:tblGrid>
              <a:tr h="2637692">
                <a:tc rowSpan="3">
                  <a:txBody>
                    <a:bodyPr/>
                    <a:lstStyle/>
                    <a:p>
                      <a:pPr marL="71755" marR="71755" algn="ctr">
                        <a:spcBef>
                          <a:spcPts val="0"/>
                        </a:spcBef>
                        <a:spcAft>
                          <a:spcPts val="0"/>
                        </a:spcAft>
                      </a:pPr>
                      <a:r>
                        <a:rPr lang="en-US" sz="5400" dirty="0">
                          <a:effectLst/>
                        </a:rPr>
                        <a:t>“Squeezing” the Buy American Act</a:t>
                      </a:r>
                      <a:endParaRPr lang="en-US" sz="5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vert="vert270"/>
                </a:tc>
                <a:tc>
                  <a:txBody>
                    <a:bodyPr/>
                    <a:lstStyle/>
                    <a:p>
                      <a:pPr marL="0" marR="0" algn="ctr">
                        <a:spcBef>
                          <a:spcPts val="0"/>
                        </a:spcBef>
                        <a:spcAft>
                          <a:spcPts val="0"/>
                        </a:spcAft>
                      </a:pPr>
                      <a:r>
                        <a:rPr lang="en-US" sz="3200" dirty="0">
                          <a:effectLst/>
                        </a:rPr>
                        <a:t>Acquisitions Above Trade Agreements Thresholds (typically $180,000):  </a:t>
                      </a:r>
                    </a:p>
                    <a:p>
                      <a:pPr marL="0" marR="0" algn="ctr">
                        <a:spcBef>
                          <a:spcPts val="0"/>
                        </a:spcBef>
                        <a:spcAft>
                          <a:spcPts val="0"/>
                        </a:spcAft>
                      </a:pPr>
                      <a:r>
                        <a:rPr lang="en-US" sz="3200" dirty="0">
                          <a:effectLst/>
                        </a:rPr>
                        <a:t>Buy American Act Does Not Apply</a:t>
                      </a:r>
                      <a:endParaRPr lang="en-US" sz="3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rgbClr val="FF0000"/>
                    </a:solidFill>
                  </a:tcPr>
                </a:tc>
                <a:extLst>
                  <a:ext uri="{0D108BD9-81ED-4DB2-BD59-A6C34878D82A}">
                    <a16:rowId xmlns:a16="http://schemas.microsoft.com/office/drawing/2014/main" val="4283861546"/>
                  </a:ext>
                </a:extLst>
              </a:tr>
              <a:tr h="2110154">
                <a:tc vMerge="1">
                  <a:txBody>
                    <a:bodyPr/>
                    <a:lstStyle/>
                    <a:p>
                      <a:endParaRPr lang="en-US"/>
                    </a:p>
                  </a:txBody>
                  <a:tcPr/>
                </a:tc>
                <a:tc>
                  <a:txBody>
                    <a:bodyPr/>
                    <a:lstStyle/>
                    <a:p>
                      <a:pPr marL="0" marR="0" algn="ctr">
                        <a:spcBef>
                          <a:spcPts val="0"/>
                        </a:spcBef>
                        <a:spcAft>
                          <a:spcPts val="0"/>
                        </a:spcAft>
                      </a:pPr>
                      <a:r>
                        <a:rPr lang="en-US" sz="3600" dirty="0">
                          <a:solidFill>
                            <a:schemeClr val="bg2"/>
                          </a:solidFill>
                          <a:effectLst/>
                        </a:rPr>
                        <a:t>Buy American Act Applies: Acquisitions from $10,000 to the Trade Agreements Thresholds</a:t>
                      </a:r>
                      <a:endParaRPr lang="en-US" sz="3600" dirty="0">
                        <a:solidFill>
                          <a:schemeClr val="bg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chemeClr val="tx1"/>
                    </a:solidFill>
                  </a:tcPr>
                </a:tc>
                <a:extLst>
                  <a:ext uri="{0D108BD9-81ED-4DB2-BD59-A6C34878D82A}">
                    <a16:rowId xmlns:a16="http://schemas.microsoft.com/office/drawing/2014/main" val="637566462"/>
                  </a:ext>
                </a:extLst>
              </a:tr>
              <a:tr h="2110154">
                <a:tc vMerge="1">
                  <a:txBody>
                    <a:bodyPr/>
                    <a:lstStyle/>
                    <a:p>
                      <a:endParaRPr lang="en-US"/>
                    </a:p>
                  </a:txBody>
                  <a:tcPr/>
                </a:tc>
                <a:tc>
                  <a:txBody>
                    <a:bodyPr/>
                    <a:lstStyle/>
                    <a:p>
                      <a:pPr marL="0" marR="0" algn="ctr">
                        <a:spcBef>
                          <a:spcPts val="0"/>
                        </a:spcBef>
                        <a:spcAft>
                          <a:spcPts val="0"/>
                        </a:spcAft>
                      </a:pPr>
                      <a:r>
                        <a:rPr lang="en-US" sz="3200" b="1" dirty="0">
                          <a:solidFill>
                            <a:schemeClr val="tx1"/>
                          </a:solidFill>
                          <a:effectLst/>
                        </a:rPr>
                        <a:t>Micro-Purchases (Currently up to $10,000):  </a:t>
                      </a:r>
                    </a:p>
                    <a:p>
                      <a:pPr marL="0" marR="0" algn="ctr">
                        <a:spcBef>
                          <a:spcPts val="0"/>
                        </a:spcBef>
                        <a:spcAft>
                          <a:spcPts val="0"/>
                        </a:spcAft>
                      </a:pPr>
                      <a:r>
                        <a:rPr lang="en-US" sz="3200" b="1" dirty="0">
                          <a:solidFill>
                            <a:schemeClr val="tx1"/>
                          </a:solidFill>
                          <a:effectLst/>
                        </a:rPr>
                        <a:t>Buy American Act Does Not Apply</a:t>
                      </a:r>
                      <a:endParaRPr lang="en-US" sz="3200" b="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rgbClr val="FF0000"/>
                    </a:solidFill>
                  </a:tcPr>
                </a:tc>
                <a:extLst>
                  <a:ext uri="{0D108BD9-81ED-4DB2-BD59-A6C34878D82A}">
                    <a16:rowId xmlns:a16="http://schemas.microsoft.com/office/drawing/2014/main" val="4101364019"/>
                  </a:ext>
                </a:extLst>
              </a:tr>
            </a:tbl>
          </a:graphicData>
        </a:graphic>
      </p:graphicFrame>
    </p:spTree>
    <p:extLst>
      <p:ext uri="{BB962C8B-B14F-4D97-AF65-F5344CB8AC3E}">
        <p14:creationId xmlns:p14="http://schemas.microsoft.com/office/powerpoint/2010/main" val="6563213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7EB207F7-69C3-4764-8756-60FFD4FF1429}"/>
              </a:ext>
            </a:extLst>
          </p:cNvPr>
          <p:cNvSpPr>
            <a:spLocks noChangeArrowheads="1"/>
          </p:cNvSpPr>
          <p:nvPr/>
        </p:nvSpPr>
        <p:spPr bwMode="auto">
          <a:xfrm>
            <a:off x="1410056" y="743694"/>
            <a:ext cx="14542042"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3" name="Object 2">
            <a:extLst>
              <a:ext uri="{FF2B5EF4-FFF2-40B4-BE49-F238E27FC236}">
                <a16:creationId xmlns:a16="http://schemas.microsoft.com/office/drawing/2014/main" id="{1295437B-763E-4191-8464-A0624A773680}"/>
              </a:ext>
            </a:extLst>
          </p:cNvPr>
          <p:cNvGraphicFramePr>
            <a:graphicFrameLocks noChangeAspect="1"/>
          </p:cNvGraphicFramePr>
          <p:nvPr/>
        </p:nvGraphicFramePr>
        <p:xfrm>
          <a:off x="-196367" y="0"/>
          <a:ext cx="9340367" cy="7024832"/>
        </p:xfrm>
        <a:graphic>
          <a:graphicData uri="http://schemas.openxmlformats.org/presentationml/2006/ole">
            <mc:AlternateContent xmlns:mc="http://schemas.openxmlformats.org/markup-compatibility/2006">
              <mc:Choice xmlns:v="urn:schemas-microsoft-com:vml" Requires="v">
                <p:oleObj spid="_x0000_s3074" name="Presentation" r:id="rId3" imgW="4570388" imgH="3427437" progId="PowerPoint.Show.12">
                  <p:embed/>
                </p:oleObj>
              </mc:Choice>
              <mc:Fallback>
                <p:oleObj name="Presentation" r:id="rId3" imgW="4570388" imgH="3427437" progId="PowerPoint.Show.12">
                  <p:embed/>
                  <p:pic>
                    <p:nvPicPr>
                      <p:cNvPr id="3" name="Object 2">
                        <a:extLst>
                          <a:ext uri="{FF2B5EF4-FFF2-40B4-BE49-F238E27FC236}">
                            <a16:creationId xmlns:a16="http://schemas.microsoft.com/office/drawing/2014/main" id="{1295437B-763E-4191-8464-A0624A773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367" y="0"/>
                        <a:ext cx="9340367" cy="7024832"/>
                      </a:xfrm>
                      <a:prstGeom prst="rect">
                        <a:avLst/>
                      </a:prstGeom>
                      <a:noFill/>
                    </p:spPr>
                  </p:pic>
                </p:oleObj>
              </mc:Fallback>
            </mc:AlternateContent>
          </a:graphicData>
        </a:graphic>
      </p:graphicFrame>
      <p:sp>
        <p:nvSpPr>
          <p:cNvPr id="4" name="TextBox 3">
            <a:extLst>
              <a:ext uri="{FF2B5EF4-FFF2-40B4-BE49-F238E27FC236}">
                <a16:creationId xmlns:a16="http://schemas.microsoft.com/office/drawing/2014/main" id="{063CA2F2-C7E9-447A-9DBE-BCDF29743083}"/>
              </a:ext>
            </a:extLst>
          </p:cNvPr>
          <p:cNvSpPr txBox="1"/>
          <p:nvPr/>
        </p:nvSpPr>
        <p:spPr>
          <a:xfrm>
            <a:off x="6867996" y="1601649"/>
            <a:ext cx="1249823" cy="584775"/>
          </a:xfrm>
          <a:prstGeom prst="rect">
            <a:avLst/>
          </a:prstGeom>
          <a:solidFill>
            <a:srgbClr val="FFC00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Today</a:t>
            </a:r>
          </a:p>
        </p:txBody>
      </p:sp>
      <p:sp>
        <p:nvSpPr>
          <p:cNvPr id="5" name="Oval 4">
            <a:extLst>
              <a:ext uri="{FF2B5EF4-FFF2-40B4-BE49-F238E27FC236}">
                <a16:creationId xmlns:a16="http://schemas.microsoft.com/office/drawing/2014/main" id="{00D2A08F-637F-4355-B27C-C6714D2B9098}"/>
              </a:ext>
            </a:extLst>
          </p:cNvPr>
          <p:cNvSpPr/>
          <p:nvPr/>
        </p:nvSpPr>
        <p:spPr>
          <a:xfrm>
            <a:off x="4276562" y="1711834"/>
            <a:ext cx="1895637"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19AE8AA2-ADC6-4A84-B7EE-AEDD4A569225}"/>
              </a:ext>
            </a:extLst>
          </p:cNvPr>
          <p:cNvSpPr/>
          <p:nvPr/>
        </p:nvSpPr>
        <p:spPr>
          <a:xfrm>
            <a:off x="3253388" y="2852019"/>
            <a:ext cx="1928212"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id="{F6A43F37-A96E-4EF7-8CDC-CABC83294669}"/>
              </a:ext>
            </a:extLst>
          </p:cNvPr>
          <p:cNvSpPr/>
          <p:nvPr/>
        </p:nvSpPr>
        <p:spPr>
          <a:xfrm>
            <a:off x="6383707" y="3596661"/>
            <a:ext cx="1734112" cy="1086357"/>
          </a:xfrm>
          <a:prstGeom prst="ellipse">
            <a:avLst/>
          </a:prstGeom>
          <a:noFill/>
          <a:ln w="1270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95F7D07A-0AC0-4BDF-AB71-7E7C07C29D59}"/>
              </a:ext>
            </a:extLst>
          </p:cNvPr>
          <p:cNvSpPr/>
          <p:nvPr/>
        </p:nvSpPr>
        <p:spPr>
          <a:xfrm>
            <a:off x="4015786" y="3910413"/>
            <a:ext cx="1734112"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id="{55A593D8-1EF0-460E-B196-4A50E2809B4D}"/>
              </a:ext>
            </a:extLst>
          </p:cNvPr>
          <p:cNvSpPr/>
          <p:nvPr/>
        </p:nvSpPr>
        <p:spPr>
          <a:xfrm>
            <a:off x="1899036" y="2226519"/>
            <a:ext cx="1809228" cy="1236933"/>
          </a:xfrm>
          <a:prstGeom prst="ellipse">
            <a:avLst/>
          </a:prstGeom>
          <a:noFill/>
          <a:ln w="1270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8C3E9D22-ECA0-45EB-8412-8539622F91B0}"/>
              </a:ext>
            </a:extLst>
          </p:cNvPr>
          <p:cNvSpPr/>
          <p:nvPr/>
        </p:nvSpPr>
        <p:spPr>
          <a:xfrm>
            <a:off x="1904999" y="848669"/>
            <a:ext cx="1895637" cy="1236933"/>
          </a:xfrm>
          <a:prstGeom prst="ellipse">
            <a:avLst/>
          </a:prstGeom>
          <a:noFill/>
          <a:ln w="1270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35880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C72AF1-FD1A-40C6-BB42-4998786F5914}"/>
              </a:ext>
            </a:extLst>
          </p:cNvPr>
          <p:cNvSpPr>
            <a:spLocks noGrp="1"/>
          </p:cNvSpPr>
          <p:nvPr>
            <p:ph type="title"/>
          </p:nvPr>
        </p:nvSpPr>
        <p:spPr>
          <a:xfrm>
            <a:off x="457200" y="530225"/>
            <a:ext cx="5959475" cy="1143000"/>
          </a:xfrm>
        </p:spPr>
        <p:txBody>
          <a:bodyPr>
            <a:normAutofit fontScale="90000"/>
          </a:bodyPr>
          <a:lstStyle/>
          <a:p>
            <a:pPr fontAlgn="auto">
              <a:spcAft>
                <a:spcPts val="0"/>
              </a:spcAft>
              <a:defRPr/>
            </a:pPr>
            <a:r>
              <a:rPr lang="en-US"/>
              <a:t>Major methods of competition</a:t>
            </a:r>
          </a:p>
        </p:txBody>
      </p:sp>
      <p:graphicFrame>
        <p:nvGraphicFramePr>
          <p:cNvPr id="7" name="Diagram 6">
            <a:extLst>
              <a:ext uri="{FF2B5EF4-FFF2-40B4-BE49-F238E27FC236}">
                <a16:creationId xmlns:a16="http://schemas.microsoft.com/office/drawing/2014/main" id="{8E2A5DA3-7DFA-4664-904E-93A5FD044B89}"/>
              </a:ext>
            </a:extLst>
          </p:cNvPr>
          <p:cNvGraphicFramePr/>
          <p:nvPr/>
        </p:nvGraphicFramePr>
        <p:xfrm>
          <a:off x="0" y="0"/>
          <a:ext cx="9144000"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CBE00DE7-1FA7-421C-A36E-73F99BBEAA39}"/>
              </a:ext>
            </a:extLst>
          </p:cNvPr>
          <p:cNvSpPr>
            <a:spLocks noGrp="1" noChangeArrowheads="1"/>
          </p:cNvSpPr>
          <p:nvPr>
            <p:ph type="title"/>
          </p:nvPr>
        </p:nvSpPr>
        <p:spPr/>
        <p:txBody>
          <a:bodyPr/>
          <a:lstStyle/>
          <a:p>
            <a:r>
              <a:rPr lang="en-US" altLang="en-US" sz="5400"/>
              <a:t>Historical Progression</a:t>
            </a:r>
          </a:p>
        </p:txBody>
      </p:sp>
      <p:grpSp>
        <p:nvGrpSpPr>
          <p:cNvPr id="40963" name="Group 4">
            <a:extLst>
              <a:ext uri="{FF2B5EF4-FFF2-40B4-BE49-F238E27FC236}">
                <a16:creationId xmlns:a16="http://schemas.microsoft.com/office/drawing/2014/main" id="{8D1F8FAD-57D3-4FF6-8715-B1BE1502B8EA}"/>
              </a:ext>
            </a:extLst>
          </p:cNvPr>
          <p:cNvGrpSpPr>
            <a:grpSpLocks/>
          </p:cNvGrpSpPr>
          <p:nvPr/>
        </p:nvGrpSpPr>
        <p:grpSpPr bwMode="auto">
          <a:xfrm>
            <a:off x="2482850" y="2417763"/>
            <a:ext cx="4179888" cy="1981200"/>
            <a:chOff x="0" y="0"/>
            <a:chExt cx="2633" cy="1248"/>
          </a:xfrm>
        </p:grpSpPr>
        <p:sp>
          <p:nvSpPr>
            <p:cNvPr id="40983" name="Rectangle 5">
              <a:extLst>
                <a:ext uri="{FF2B5EF4-FFF2-40B4-BE49-F238E27FC236}">
                  <a16:creationId xmlns:a16="http://schemas.microsoft.com/office/drawing/2014/main" id="{E8677A46-9074-4DD3-8801-14E636B7E2D0}"/>
                </a:ext>
              </a:extLst>
            </p:cNvPr>
            <p:cNvSpPr>
              <a:spLocks noChangeArrowheads="1"/>
            </p:cNvSpPr>
            <p:nvPr/>
          </p:nvSpPr>
          <p:spPr bwMode="auto">
            <a:xfrm>
              <a:off x="0" y="0"/>
              <a:ext cx="263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
          <p:nvSpPr>
            <p:cNvPr id="40984" name="Rectangle 6">
              <a:extLst>
                <a:ext uri="{FF2B5EF4-FFF2-40B4-BE49-F238E27FC236}">
                  <a16:creationId xmlns:a16="http://schemas.microsoft.com/office/drawing/2014/main" id="{59A5FB3A-7EEF-4AF2-B589-F8B4EC499607}"/>
                </a:ext>
              </a:extLst>
            </p:cNvPr>
            <p:cNvSpPr>
              <a:spLocks noChangeArrowheads="1"/>
            </p:cNvSpPr>
            <p:nvPr/>
          </p:nvSpPr>
          <p:spPr bwMode="auto">
            <a:xfrm>
              <a:off x="0" y="0"/>
              <a:ext cx="2633" cy="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altLang="en-US" sz="1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altLang="en-US" sz="1100" b="0" i="0" u="none" strike="noStrike" kern="1200" cap="none" spc="0" normalizeH="0" baseline="0" noProof="0">
                  <a:ln>
                    <a:noFill/>
                  </a:ln>
                  <a:solidFill>
                    <a:srgbClr val="FFFFFF"/>
                  </a:solidFill>
                  <a:effectLst/>
                  <a:uLnTx/>
                  <a:uFillTx/>
                  <a:latin typeface="Times New Roman" panose="02020603050405020304" pitchFamily="18" charset="0"/>
                  <a:ea typeface="+mn-ea"/>
                  <a:cs typeface="Arial" panose="020B0604020202020204" pitchFamily="34" charset="0"/>
                </a:rPr>
                <a:t> </a:t>
              </a:r>
            </a:p>
          </p:txBody>
        </p:sp>
      </p:grpSp>
      <p:grpSp>
        <p:nvGrpSpPr>
          <p:cNvPr id="40964" name="Group 7">
            <a:extLst>
              <a:ext uri="{FF2B5EF4-FFF2-40B4-BE49-F238E27FC236}">
                <a16:creationId xmlns:a16="http://schemas.microsoft.com/office/drawing/2014/main" id="{D9B3A86F-2464-42E9-A8B0-B994DD1A9388}"/>
              </a:ext>
            </a:extLst>
          </p:cNvPr>
          <p:cNvGrpSpPr>
            <a:grpSpLocks/>
          </p:cNvGrpSpPr>
          <p:nvPr/>
        </p:nvGrpSpPr>
        <p:grpSpPr bwMode="auto">
          <a:xfrm>
            <a:off x="2590800" y="1600200"/>
            <a:ext cx="3962400" cy="3276600"/>
            <a:chOff x="0" y="0"/>
            <a:chExt cx="2633" cy="1248"/>
          </a:xfrm>
        </p:grpSpPr>
        <p:sp>
          <p:nvSpPr>
            <p:cNvPr id="40981" name="Rectangle 8">
              <a:extLst>
                <a:ext uri="{FF2B5EF4-FFF2-40B4-BE49-F238E27FC236}">
                  <a16:creationId xmlns:a16="http://schemas.microsoft.com/office/drawing/2014/main" id="{6F9B549D-11CA-4F26-97E7-A0A658A573C4}"/>
                </a:ext>
              </a:extLst>
            </p:cNvPr>
            <p:cNvSpPr>
              <a:spLocks noChangeArrowheads="1"/>
            </p:cNvSpPr>
            <p:nvPr/>
          </p:nvSpPr>
          <p:spPr bwMode="auto">
            <a:xfrm>
              <a:off x="0" y="0"/>
              <a:ext cx="2633" cy="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
          <p:nvSpPr>
            <p:cNvPr id="40982" name="Rectangle 9">
              <a:extLst>
                <a:ext uri="{FF2B5EF4-FFF2-40B4-BE49-F238E27FC236}">
                  <a16:creationId xmlns:a16="http://schemas.microsoft.com/office/drawing/2014/main" id="{88204C01-22A0-4A93-87DC-0FFE069EFA34}"/>
                </a:ext>
              </a:extLst>
            </p:cNvPr>
            <p:cNvSpPr>
              <a:spLocks noChangeArrowheads="1"/>
            </p:cNvSpPr>
            <p:nvPr/>
          </p:nvSpPr>
          <p:spPr bwMode="auto">
            <a:xfrm>
              <a:off x="0" y="0"/>
              <a:ext cx="2633" cy="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altLang="en-US" sz="1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altLang="en-US" sz="1100" b="0" i="0" u="none" strike="noStrike" kern="1200" cap="none" spc="0" normalizeH="0" baseline="0" noProof="0">
                  <a:ln>
                    <a:noFill/>
                  </a:ln>
                  <a:solidFill>
                    <a:srgbClr val="FFFFFF"/>
                  </a:solidFill>
                  <a:effectLst/>
                  <a:uLnTx/>
                  <a:uFillTx/>
                  <a:latin typeface="Times New Roman" panose="02020603050405020304" pitchFamily="18" charset="0"/>
                  <a:ea typeface="+mn-ea"/>
                  <a:cs typeface="Arial" panose="020B0604020202020204" pitchFamily="34" charset="0"/>
                </a:rPr>
                <a:t> </a:t>
              </a:r>
            </a:p>
          </p:txBody>
        </p:sp>
      </p:grpSp>
      <p:sp>
        <p:nvSpPr>
          <p:cNvPr id="40965" name="Rectangle 10">
            <a:hlinkClick r:id="rId2"/>
            <a:extLst>
              <a:ext uri="{FF2B5EF4-FFF2-40B4-BE49-F238E27FC236}">
                <a16:creationId xmlns:a16="http://schemas.microsoft.com/office/drawing/2014/main" id="{409FD7BA-6D21-45D7-8FB0-3BC84566A0DA}"/>
              </a:ext>
            </a:extLst>
          </p:cNvPr>
          <p:cNvSpPr>
            <a:spLocks noChangeArrowheads="1"/>
          </p:cNvSpPr>
          <p:nvPr/>
        </p:nvSpPr>
        <p:spPr bwMode="auto">
          <a:xfrm>
            <a:off x="3629025" y="2628900"/>
            <a:ext cx="9144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grpSp>
        <p:nvGrpSpPr>
          <p:cNvPr id="40966" name="Group 15">
            <a:extLst>
              <a:ext uri="{FF2B5EF4-FFF2-40B4-BE49-F238E27FC236}">
                <a16:creationId xmlns:a16="http://schemas.microsoft.com/office/drawing/2014/main" id="{A1BADEB3-839F-4D17-885E-A394FF3CAC84}"/>
              </a:ext>
            </a:extLst>
          </p:cNvPr>
          <p:cNvGrpSpPr>
            <a:grpSpLocks/>
          </p:cNvGrpSpPr>
          <p:nvPr/>
        </p:nvGrpSpPr>
        <p:grpSpPr bwMode="auto">
          <a:xfrm>
            <a:off x="228600" y="2224088"/>
            <a:ext cx="8686800" cy="914400"/>
            <a:chOff x="0" y="1519"/>
            <a:chExt cx="5472" cy="576"/>
          </a:xfrm>
        </p:grpSpPr>
        <p:sp>
          <p:nvSpPr>
            <p:cNvPr id="40979" name="Rectangle 16">
              <a:extLst>
                <a:ext uri="{FF2B5EF4-FFF2-40B4-BE49-F238E27FC236}">
                  <a16:creationId xmlns:a16="http://schemas.microsoft.com/office/drawing/2014/main" id="{E41A9D42-4ED9-4118-87E7-A0264846E8E6}"/>
                </a:ext>
              </a:extLst>
            </p:cNvPr>
            <p:cNvSpPr>
              <a:spLocks noChangeArrowheads="1"/>
            </p:cNvSpPr>
            <p:nvPr/>
          </p:nvSpPr>
          <p:spPr bwMode="auto">
            <a:xfrm>
              <a:off x="0" y="1519"/>
              <a:ext cx="547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
          <p:nvSpPr>
            <p:cNvPr id="40980" name="Rectangle 17">
              <a:extLst>
                <a:ext uri="{FF2B5EF4-FFF2-40B4-BE49-F238E27FC236}">
                  <a16:creationId xmlns:a16="http://schemas.microsoft.com/office/drawing/2014/main" id="{E50918AC-2A60-407D-BC8B-44F53F39082F}"/>
                </a:ext>
              </a:extLst>
            </p:cNvPr>
            <p:cNvSpPr>
              <a:spLocks noChangeArrowheads="1"/>
            </p:cNvSpPr>
            <p:nvPr/>
          </p:nvSpPr>
          <p:spPr bwMode="auto">
            <a:xfrm>
              <a:off x="0" y="1519"/>
              <a:ext cx="489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Arial" panose="020B0604020202020204" pitchFamily="34" charset="0"/>
                  <a:hlinkClick r:id="rId3"/>
                </a:rPr>
                <a:t>  </a:t>
              </a:r>
              <a:r>
                <a:rPr kumimoji="0" lang="en-US" altLang="en-US" sz="5400" b="0" i="0" u="none" strike="noStrike" kern="1200" cap="none" spc="0" normalizeH="0" baseline="0" noProof="0">
                  <a:ln>
                    <a:noFill/>
                  </a:ln>
                  <a:solidFill>
                    <a:srgbClr val="FFFFFF"/>
                  </a:solidFill>
                  <a:effectLst/>
                  <a:uLnTx/>
                  <a:uFillTx/>
                  <a:latin typeface="Times New Roman" panose="02020603050405020304" pitchFamily="18" charset="0"/>
                  <a:ea typeface="+mn-ea"/>
                  <a:cs typeface="Arial" panose="020B0604020202020204" pitchFamily="34" charset="0"/>
                </a:rPr>
                <a:t> </a:t>
              </a:r>
              <a:r>
                <a:rPr kumimoji="0" lang="en-US" alt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Arial" panose="020B0604020202020204" pitchFamily="34" charset="0"/>
                </a:rPr>
                <a:t>            </a:t>
              </a:r>
            </a:p>
          </p:txBody>
        </p:sp>
      </p:grpSp>
      <p:grpSp>
        <p:nvGrpSpPr>
          <p:cNvPr id="40967" name="Group 23">
            <a:extLst>
              <a:ext uri="{FF2B5EF4-FFF2-40B4-BE49-F238E27FC236}">
                <a16:creationId xmlns:a16="http://schemas.microsoft.com/office/drawing/2014/main" id="{B2358E99-5A76-4CC8-8936-354DF64A5998}"/>
              </a:ext>
            </a:extLst>
          </p:cNvPr>
          <p:cNvGrpSpPr>
            <a:grpSpLocks/>
          </p:cNvGrpSpPr>
          <p:nvPr/>
        </p:nvGrpSpPr>
        <p:grpSpPr bwMode="auto">
          <a:xfrm>
            <a:off x="0" y="1905000"/>
            <a:ext cx="8915400" cy="2735263"/>
            <a:chOff x="0" y="1905000"/>
            <a:chExt cx="8915400" cy="2736731"/>
          </a:xfrm>
        </p:grpSpPr>
        <p:pic>
          <p:nvPicPr>
            <p:cNvPr id="40968" name="Picture 2">
              <a:extLst>
                <a:ext uri="{FF2B5EF4-FFF2-40B4-BE49-F238E27FC236}">
                  <a16:creationId xmlns:a16="http://schemas.microsoft.com/office/drawing/2014/main" id="{E399EA1B-0EAB-4B39-A8EC-4B3906082A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362200"/>
              <a:ext cx="1409699" cy="1127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71" name="Text Box 3">
              <a:extLst>
                <a:ext uri="{FF2B5EF4-FFF2-40B4-BE49-F238E27FC236}">
                  <a16:creationId xmlns:a16="http://schemas.microsoft.com/office/drawing/2014/main" id="{DD9DA067-3374-4847-B876-7DD4D340CF83}"/>
                </a:ext>
              </a:extLst>
            </p:cNvPr>
            <p:cNvSpPr txBox="1">
              <a:spLocks noChangeArrowheads="1"/>
            </p:cNvSpPr>
            <p:nvPr/>
          </p:nvSpPr>
          <p:spPr bwMode="auto">
            <a:xfrm>
              <a:off x="2057400" y="3811022"/>
              <a:ext cx="2133600" cy="460622"/>
            </a:xfrm>
            <a:prstGeom prst="rect">
              <a:avLst/>
            </a:prstGeom>
            <a:noFill/>
            <a:ln w="12700" cap="sq">
              <a:noFill/>
              <a:miter lim="800000"/>
              <a:headEnd type="none" w="sm" len="sm"/>
              <a:tailEnd type="none" w="sm" len="sm"/>
            </a:ln>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E5E5FF"/>
                  </a:solidFill>
                  <a:effectLst>
                    <a:outerShdw blurRad="38100" dist="38100" dir="2700000" algn="tl">
                      <a:srgbClr val="000000"/>
                    </a:outerShdw>
                  </a:effectLst>
                  <a:uLnTx/>
                  <a:uFillTx/>
                  <a:latin typeface="Times New Roman" pitchFamily="18" charset="0"/>
                  <a:ea typeface="+mn-ea"/>
                  <a:cs typeface="Arial" panose="020B0604020202020204" pitchFamily="34" charset="0"/>
                </a:rPr>
                <a:t>Sealed Bids</a:t>
              </a:r>
            </a:p>
          </p:txBody>
        </p:sp>
        <p:pic>
          <p:nvPicPr>
            <p:cNvPr id="40970" name="Picture 11">
              <a:hlinkClick r:id="rId2"/>
              <a:extLst>
                <a:ext uri="{FF2B5EF4-FFF2-40B4-BE49-F238E27FC236}">
                  <a16:creationId xmlns:a16="http://schemas.microsoft.com/office/drawing/2014/main" id="{A4AEBA70-9374-4AE7-8BAD-6F110ECCF095}"/>
                </a:ext>
              </a:extLst>
            </p:cNvPr>
            <p:cNvPicPr>
              <a:picLocks noChangeAspect="1" noChangeArrowheads="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46482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80" name="Text Box 12">
              <a:extLst>
                <a:ext uri="{FF2B5EF4-FFF2-40B4-BE49-F238E27FC236}">
                  <a16:creationId xmlns:a16="http://schemas.microsoft.com/office/drawing/2014/main" id="{1074C1BD-DB12-4067-8B39-F09B398500B3}"/>
                </a:ext>
              </a:extLst>
            </p:cNvPr>
            <p:cNvSpPr txBox="1">
              <a:spLocks noChangeArrowheads="1"/>
            </p:cNvSpPr>
            <p:nvPr/>
          </p:nvSpPr>
          <p:spPr bwMode="auto">
            <a:xfrm>
              <a:off x="4267200" y="3811022"/>
              <a:ext cx="3124200" cy="830709"/>
            </a:xfrm>
            <a:prstGeom prst="rect">
              <a:avLst/>
            </a:prstGeom>
            <a:noFill/>
            <a:ln w="12700" cap="sq">
              <a:noFill/>
              <a:miter lim="800000"/>
              <a:headEnd type="none" w="sm" len="sm"/>
              <a:tailEnd type="none" w="sm" len="sm"/>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AAEF6B"/>
                  </a:solidFill>
                  <a:effectLst>
                    <a:outerShdw blurRad="38100" dist="38100" dir="2700000" algn="tl">
                      <a:srgbClr val="000000"/>
                    </a:outerShdw>
                  </a:effectLst>
                  <a:uLnTx/>
                  <a:uFillTx/>
                  <a:latin typeface="Times New Roman" pitchFamily="18" charset="0"/>
                  <a:ea typeface="+mn-ea"/>
                  <a:cs typeface="Arial" panose="020B0604020202020204" pitchFamily="34" charset="0"/>
                </a:rPr>
                <a:t>Negotiated Procurements</a:t>
              </a:r>
            </a:p>
          </p:txBody>
        </p:sp>
        <p:pic>
          <p:nvPicPr>
            <p:cNvPr id="40972" name="Picture 13" descr="Contract Data Requirements List">
              <a:extLst>
                <a:ext uri="{FF2B5EF4-FFF2-40B4-BE49-F238E27FC236}">
                  <a16:creationId xmlns:a16="http://schemas.microsoft.com/office/drawing/2014/main" id="{D32AC272-5323-4A38-868C-45BADBC310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7600" y="1905000"/>
              <a:ext cx="138906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82" name="Text Box 14">
              <a:extLst>
                <a:ext uri="{FF2B5EF4-FFF2-40B4-BE49-F238E27FC236}">
                  <a16:creationId xmlns:a16="http://schemas.microsoft.com/office/drawing/2014/main" id="{8CA1E1F3-4211-4899-A61D-3BA7F5EF5003}"/>
                </a:ext>
              </a:extLst>
            </p:cNvPr>
            <p:cNvSpPr txBox="1">
              <a:spLocks noChangeArrowheads="1"/>
            </p:cNvSpPr>
            <p:nvPr/>
          </p:nvSpPr>
          <p:spPr bwMode="auto">
            <a:xfrm>
              <a:off x="6019800" y="4039745"/>
              <a:ext cx="2895600" cy="460622"/>
            </a:xfrm>
            <a:prstGeom prst="rect">
              <a:avLst/>
            </a:prstGeom>
            <a:noFill/>
            <a:ln w="12700" cap="sq">
              <a:noFill/>
              <a:miter lim="800000"/>
              <a:headEnd type="none" w="sm" len="sm"/>
              <a:tailEnd type="none" w="sm" len="sm"/>
            </a:ln>
            <a:effectLst/>
          </p:spPr>
          <p:txBody>
            <a:bodyPr>
              <a:spAutoFit/>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rgbClr val="FFCC00"/>
                  </a:solidFill>
                  <a:effectLst>
                    <a:outerShdw blurRad="38100" dist="38100" dir="2700000" algn="tl">
                      <a:srgbClr val="000000"/>
                    </a:outerShdw>
                  </a:effectLst>
                  <a:uLnTx/>
                  <a:uFillTx/>
                  <a:latin typeface="Times New Roman" pitchFamily="18" charset="0"/>
                  <a:ea typeface="+mn-ea"/>
                  <a:cs typeface="Arial" panose="020B0604020202020204" pitchFamily="34" charset="0"/>
                </a:rPr>
                <a:t>Frameworks</a:t>
              </a:r>
            </a:p>
          </p:txBody>
        </p:sp>
        <p:pic>
          <p:nvPicPr>
            <p:cNvPr id="40974" name="Picture 18" descr="UW Sealed Bid Sales Information">
              <a:hlinkClick r:id="rId3"/>
              <a:extLst>
                <a:ext uri="{FF2B5EF4-FFF2-40B4-BE49-F238E27FC236}">
                  <a16:creationId xmlns:a16="http://schemas.microsoft.com/office/drawing/2014/main" id="{ED564D5A-8704-443D-9C9A-967FF132AB0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7400" y="2209800"/>
              <a:ext cx="1828800"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5" name="AutoShape 19">
              <a:extLst>
                <a:ext uri="{FF2B5EF4-FFF2-40B4-BE49-F238E27FC236}">
                  <a16:creationId xmlns:a16="http://schemas.microsoft.com/office/drawing/2014/main" id="{EACE3451-8945-42D0-884C-D91C7C619982}"/>
                </a:ext>
              </a:extLst>
            </p:cNvPr>
            <p:cNvSpPr>
              <a:spLocks noChangeArrowheads="1"/>
            </p:cNvSpPr>
            <p:nvPr/>
          </p:nvSpPr>
          <p:spPr bwMode="auto">
            <a:xfrm>
              <a:off x="3657600" y="25146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
          <p:nvSpPr>
            <p:cNvPr id="40976" name="AutoShape 20">
              <a:extLst>
                <a:ext uri="{FF2B5EF4-FFF2-40B4-BE49-F238E27FC236}">
                  <a16:creationId xmlns:a16="http://schemas.microsoft.com/office/drawing/2014/main" id="{A627657C-86F4-46E6-AEB7-20720C29C41B}"/>
                </a:ext>
              </a:extLst>
            </p:cNvPr>
            <p:cNvSpPr>
              <a:spLocks noChangeArrowheads="1"/>
            </p:cNvSpPr>
            <p:nvPr/>
          </p:nvSpPr>
          <p:spPr bwMode="auto">
            <a:xfrm>
              <a:off x="6629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
          <p:nvSpPr>
            <p:cNvPr id="40977" name="TextBox 20">
              <a:extLst>
                <a:ext uri="{FF2B5EF4-FFF2-40B4-BE49-F238E27FC236}">
                  <a16:creationId xmlns:a16="http://schemas.microsoft.com/office/drawing/2014/main" id="{D43B1C5F-29AD-4B03-BD31-89EF7A8B77E6}"/>
                </a:ext>
              </a:extLst>
            </p:cNvPr>
            <p:cNvSpPr txBox="1">
              <a:spLocks noChangeArrowheads="1"/>
            </p:cNvSpPr>
            <p:nvPr/>
          </p:nvSpPr>
          <p:spPr bwMode="auto">
            <a:xfrm>
              <a:off x="0" y="3581400"/>
              <a:ext cx="14478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Sole Source</a:t>
              </a:r>
            </a:p>
          </p:txBody>
        </p:sp>
        <p:sp>
          <p:nvSpPr>
            <p:cNvPr id="40978" name="AutoShape 19">
              <a:extLst>
                <a:ext uri="{FF2B5EF4-FFF2-40B4-BE49-F238E27FC236}">
                  <a16:creationId xmlns:a16="http://schemas.microsoft.com/office/drawing/2014/main" id="{189E0E2F-EEAD-420A-A81A-488DB2D34931}"/>
                </a:ext>
              </a:extLst>
            </p:cNvPr>
            <p:cNvSpPr>
              <a:spLocks noChangeArrowheads="1"/>
            </p:cNvSpPr>
            <p:nvPr/>
          </p:nvSpPr>
          <p:spPr bwMode="auto">
            <a:xfrm>
              <a:off x="1295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grpSp>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45795-088C-46EF-8B38-41D773ACB3CE}"/>
              </a:ext>
            </a:extLst>
          </p:cNvPr>
          <p:cNvSpPr>
            <a:spLocks noGrp="1"/>
          </p:cNvSpPr>
          <p:nvPr>
            <p:ph type="title"/>
          </p:nvPr>
        </p:nvSpPr>
        <p:spPr>
          <a:xfrm>
            <a:off x="609600" y="2209800"/>
            <a:ext cx="8229600" cy="1143000"/>
          </a:xfrm>
        </p:spPr>
        <p:txBody>
          <a:bodyPr>
            <a:normAutofit fontScale="90000"/>
          </a:bodyPr>
          <a:lstStyle/>
          <a:p>
            <a:pPr fontAlgn="auto">
              <a:spcAft>
                <a:spcPts val="0"/>
              </a:spcAft>
              <a:defRPr/>
            </a:pPr>
            <a:r>
              <a:rPr lang="en-US" dirty="0">
                <a:solidFill>
                  <a:schemeClr val="tx1"/>
                </a:solidFill>
              </a:rPr>
              <a:t>Competitive Negotiations</a:t>
            </a:r>
            <a:br>
              <a:rPr lang="en-US" dirty="0">
                <a:solidFill>
                  <a:schemeClr val="tx1"/>
                </a:solidFill>
              </a:rPr>
            </a:br>
            <a:r>
              <a:rPr lang="en-US" dirty="0">
                <a:solidFill>
                  <a:schemeClr val="tx1"/>
                </a:solidFill>
              </a:rPr>
              <a:t>(EU:  “Competitive Dialogue” or “Competitive Procedures with Negotiations”)</a:t>
            </a:r>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A1F3E-FA0C-4033-A32D-492ACD5EFDB1}"/>
              </a:ext>
            </a:extLst>
          </p:cNvPr>
          <p:cNvSpPr>
            <a:spLocks noGrp="1"/>
          </p:cNvSpPr>
          <p:nvPr>
            <p:ph type="title"/>
          </p:nvPr>
        </p:nvSpPr>
        <p:spPr>
          <a:xfrm>
            <a:off x="3733800" y="1600200"/>
            <a:ext cx="5029200" cy="1143000"/>
          </a:xfrm>
        </p:spPr>
        <p:txBody>
          <a:bodyPr>
            <a:normAutofit fontScale="90000"/>
          </a:bodyPr>
          <a:lstStyle/>
          <a:p>
            <a:pPr algn="r" fontAlgn="auto">
              <a:spcAft>
                <a:spcPts val="0"/>
              </a:spcAft>
              <a:defRPr/>
            </a:pPr>
            <a:r>
              <a:rPr lang="en-US" b="1" dirty="0">
                <a:solidFill>
                  <a:schemeClr val="tx1"/>
                </a:solidFill>
              </a:rPr>
              <a:t>Competitive Negotiations:</a:t>
            </a:r>
            <a:br>
              <a:rPr lang="en-US" b="1" dirty="0">
                <a:solidFill>
                  <a:schemeClr val="tx1"/>
                </a:solidFill>
              </a:rPr>
            </a:br>
            <a:r>
              <a:rPr lang="en-US" b="1" dirty="0">
                <a:solidFill>
                  <a:schemeClr val="tx1"/>
                </a:solidFill>
              </a:rPr>
              <a:t>Multiple Vendors, for Best Value</a:t>
            </a:r>
          </a:p>
        </p:txBody>
      </p:sp>
      <p:grpSp>
        <p:nvGrpSpPr>
          <p:cNvPr id="43011" name="Group 4">
            <a:extLst>
              <a:ext uri="{FF2B5EF4-FFF2-40B4-BE49-F238E27FC236}">
                <a16:creationId xmlns:a16="http://schemas.microsoft.com/office/drawing/2014/main" id="{6EB72B90-0751-4B9E-AD8D-683EBFC47ECB}"/>
              </a:ext>
            </a:extLst>
          </p:cNvPr>
          <p:cNvGrpSpPr>
            <a:grpSpLocks/>
          </p:cNvGrpSpPr>
          <p:nvPr/>
        </p:nvGrpSpPr>
        <p:grpSpPr bwMode="auto">
          <a:xfrm>
            <a:off x="381000" y="381000"/>
            <a:ext cx="3124200" cy="3248025"/>
            <a:chOff x="2743200" y="1981200"/>
            <a:chExt cx="3124200" cy="3248025"/>
          </a:xfrm>
        </p:grpSpPr>
        <p:pic>
          <p:nvPicPr>
            <p:cNvPr id="43018" name="Picture 11">
              <a:hlinkClick r:id="rId2"/>
              <a:extLst>
                <a:ext uri="{FF2B5EF4-FFF2-40B4-BE49-F238E27FC236}">
                  <a16:creationId xmlns:a16="http://schemas.microsoft.com/office/drawing/2014/main" id="{F432DE3A-7580-4BCA-8B5F-DF9982C00D90}"/>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32766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a:extLst>
                <a:ext uri="{FF2B5EF4-FFF2-40B4-BE49-F238E27FC236}">
                  <a16:creationId xmlns:a16="http://schemas.microsoft.com/office/drawing/2014/main" id="{62981177-88F3-4D6D-96A4-39ED31EC3EB7}"/>
                </a:ext>
              </a:extLst>
            </p:cNvPr>
            <p:cNvSpPr txBox="1">
              <a:spLocks noChangeArrowheads="1"/>
            </p:cNvSpPr>
            <p:nvPr/>
          </p:nvSpPr>
          <p:spPr bwMode="auto">
            <a:xfrm>
              <a:off x="2743200" y="4038600"/>
              <a:ext cx="3124200" cy="1190625"/>
            </a:xfrm>
            <a:prstGeom prst="rect">
              <a:avLst/>
            </a:prstGeom>
            <a:noFill/>
            <a:ln w="12700" cap="sq">
              <a:noFill/>
              <a:miter lim="800000"/>
              <a:headEnd type="none" w="sm" len="sm"/>
              <a:tailEnd type="none" w="sm" len="sm"/>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3600" b="1" i="0" u="none" strike="noStrike" kern="1200" cap="none" spc="0" normalizeH="0" baseline="0" noProof="0" dirty="0">
                  <a:ln>
                    <a:noFill/>
                  </a:ln>
                  <a:solidFill>
                    <a:srgbClr val="AAEF6B"/>
                  </a:solidFill>
                  <a:effectLst>
                    <a:outerShdw blurRad="38100" dist="38100" dir="2700000" algn="tl">
                      <a:srgbClr val="000000"/>
                    </a:outerShdw>
                  </a:effectLst>
                  <a:uLnTx/>
                  <a:uFillTx/>
                  <a:latin typeface="Times New Roman" pitchFamily="18" charset="0"/>
                  <a:ea typeface="+mn-ea"/>
                  <a:cs typeface="Arial" panose="020B0604020202020204" pitchFamily="34" charset="0"/>
                </a:rPr>
                <a:t>Negotiated Procurements</a:t>
              </a:r>
            </a:p>
          </p:txBody>
        </p:sp>
      </p:grpSp>
      <p:cxnSp>
        <p:nvCxnSpPr>
          <p:cNvPr id="43012" name="Straight Arrow Connector 6">
            <a:extLst>
              <a:ext uri="{FF2B5EF4-FFF2-40B4-BE49-F238E27FC236}">
                <a16:creationId xmlns:a16="http://schemas.microsoft.com/office/drawing/2014/main" id="{CFC5132A-6E41-477C-8F1D-2D467B67CFEB}"/>
              </a:ext>
            </a:extLst>
          </p:cNvPr>
          <p:cNvCxnSpPr>
            <a:cxnSpLocks noChangeShapeType="1"/>
          </p:cNvCxnSpPr>
          <p:nvPr/>
        </p:nvCxnSpPr>
        <p:spPr bwMode="auto">
          <a:xfrm flipH="1">
            <a:off x="1066800" y="3581400"/>
            <a:ext cx="381000" cy="13716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3013" name="Straight Arrow Connector 7">
            <a:extLst>
              <a:ext uri="{FF2B5EF4-FFF2-40B4-BE49-F238E27FC236}">
                <a16:creationId xmlns:a16="http://schemas.microsoft.com/office/drawing/2014/main" id="{62077481-0C14-4451-BD86-271D3EBAB99C}"/>
              </a:ext>
            </a:extLst>
          </p:cNvPr>
          <p:cNvCxnSpPr>
            <a:cxnSpLocks noChangeShapeType="1"/>
          </p:cNvCxnSpPr>
          <p:nvPr/>
        </p:nvCxnSpPr>
        <p:spPr bwMode="auto">
          <a:xfrm>
            <a:off x="1981200" y="3657600"/>
            <a:ext cx="457200" cy="1524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3014" name="Straight Arrow Connector 8">
            <a:extLst>
              <a:ext uri="{FF2B5EF4-FFF2-40B4-BE49-F238E27FC236}">
                <a16:creationId xmlns:a16="http://schemas.microsoft.com/office/drawing/2014/main" id="{8B0088FB-3B5C-4DAA-8B5E-9CA526873F02}"/>
              </a:ext>
            </a:extLst>
          </p:cNvPr>
          <p:cNvCxnSpPr>
            <a:cxnSpLocks noChangeShapeType="1"/>
          </p:cNvCxnSpPr>
          <p:nvPr/>
        </p:nvCxnSpPr>
        <p:spPr bwMode="auto">
          <a:xfrm>
            <a:off x="2590800" y="3657600"/>
            <a:ext cx="1676400" cy="12954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43015" name="Oval 12">
            <a:extLst>
              <a:ext uri="{FF2B5EF4-FFF2-40B4-BE49-F238E27FC236}">
                <a16:creationId xmlns:a16="http://schemas.microsoft.com/office/drawing/2014/main" id="{D2B2AAE8-D734-48BE-AA69-4198764DA4A8}"/>
              </a:ext>
            </a:extLst>
          </p:cNvPr>
          <p:cNvSpPr>
            <a:spLocks noChangeArrowheads="1"/>
          </p:cNvSpPr>
          <p:nvPr/>
        </p:nvSpPr>
        <p:spPr bwMode="auto">
          <a:xfrm>
            <a:off x="0" y="5181600"/>
            <a:ext cx="1676400" cy="685800"/>
          </a:xfrm>
          <a:prstGeom prst="ellipse">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Contractor</a:t>
            </a:r>
          </a:p>
        </p:txBody>
      </p:sp>
      <p:sp>
        <p:nvSpPr>
          <p:cNvPr id="43016" name="Oval 14">
            <a:extLst>
              <a:ext uri="{FF2B5EF4-FFF2-40B4-BE49-F238E27FC236}">
                <a16:creationId xmlns:a16="http://schemas.microsoft.com/office/drawing/2014/main" id="{023AAE50-CFDC-42AA-8901-3DDA96D0CE04}"/>
              </a:ext>
            </a:extLst>
          </p:cNvPr>
          <p:cNvSpPr>
            <a:spLocks noChangeArrowheads="1"/>
          </p:cNvSpPr>
          <p:nvPr/>
        </p:nvSpPr>
        <p:spPr bwMode="auto">
          <a:xfrm>
            <a:off x="1981200" y="5562600"/>
            <a:ext cx="1676400" cy="685800"/>
          </a:xfrm>
          <a:prstGeom prst="ellipse">
            <a:avLst/>
          </a:prstGeom>
          <a:solidFill>
            <a:srgbClr val="0066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Contractor</a:t>
            </a:r>
          </a:p>
        </p:txBody>
      </p:sp>
      <p:sp>
        <p:nvSpPr>
          <p:cNvPr id="43017" name="Oval 15">
            <a:extLst>
              <a:ext uri="{FF2B5EF4-FFF2-40B4-BE49-F238E27FC236}">
                <a16:creationId xmlns:a16="http://schemas.microsoft.com/office/drawing/2014/main" id="{CEC2F59D-938F-44F2-861B-E78B41EDB10E}"/>
              </a:ext>
            </a:extLst>
          </p:cNvPr>
          <p:cNvSpPr>
            <a:spLocks noChangeArrowheads="1"/>
          </p:cNvSpPr>
          <p:nvPr/>
        </p:nvSpPr>
        <p:spPr bwMode="auto">
          <a:xfrm>
            <a:off x="3657600" y="5029200"/>
            <a:ext cx="1676400" cy="685800"/>
          </a:xfrm>
          <a:prstGeom prst="ellipse">
            <a:avLst/>
          </a:prstGeom>
          <a:solidFill>
            <a:srgbClr val="7030A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Contractor</a:t>
            </a: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a:extLst>
              <a:ext uri="{FF2B5EF4-FFF2-40B4-BE49-F238E27FC236}">
                <a16:creationId xmlns:a16="http://schemas.microsoft.com/office/drawing/2014/main" id="{FFBB4731-9827-4F1F-AA2F-3F36F2CD916F}"/>
              </a:ext>
            </a:extLst>
          </p:cNvPr>
          <p:cNvSpPr>
            <a:spLocks noGrp="1"/>
          </p:cNvSpPr>
          <p:nvPr>
            <p:ph type="title"/>
          </p:nvPr>
        </p:nvSpPr>
        <p:spPr>
          <a:xfrm>
            <a:off x="273050" y="-249238"/>
            <a:ext cx="8229600" cy="1143001"/>
          </a:xfrm>
        </p:spPr>
        <p:txBody>
          <a:bodyPr/>
          <a:lstStyle/>
          <a:p>
            <a:r>
              <a:rPr lang="en-US" altLang="en-US" sz="3600" b="1">
                <a:solidFill>
                  <a:schemeClr val="tx1"/>
                </a:solidFill>
              </a:rPr>
              <a:t>Competitive Negotiations</a:t>
            </a:r>
          </a:p>
        </p:txBody>
      </p:sp>
      <p:graphicFrame>
        <p:nvGraphicFramePr>
          <p:cNvPr id="4" name="Content Placeholder 3">
            <a:extLst>
              <a:ext uri="{FF2B5EF4-FFF2-40B4-BE49-F238E27FC236}">
                <a16:creationId xmlns:a16="http://schemas.microsoft.com/office/drawing/2014/main" id="{10F0B0A4-0178-4441-B94F-40E94891A282}"/>
              </a:ext>
            </a:extLst>
          </p:cNvPr>
          <p:cNvGraphicFramePr>
            <a:graphicFrameLocks noGrp="1"/>
          </p:cNvGraphicFramePr>
          <p:nvPr>
            <p:ph idx="1"/>
          </p:nvPr>
        </p:nvGraphicFramePr>
        <p:xfrm>
          <a:off x="457200" y="990600"/>
          <a:ext cx="822960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TotalTime>
  <Words>1339</Words>
  <Application>Microsoft Office PowerPoint</Application>
  <PresentationFormat>On-screen Show (4:3)</PresentationFormat>
  <Paragraphs>227</Paragraphs>
  <Slides>46</Slides>
  <Notes>1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3</vt:i4>
      </vt:variant>
      <vt:variant>
        <vt:lpstr>Slide Titles</vt:lpstr>
      </vt:variant>
      <vt:variant>
        <vt:i4>46</vt:i4>
      </vt:variant>
    </vt:vector>
  </HeadingPairs>
  <TitlesOfParts>
    <vt:vector size="60" baseType="lpstr">
      <vt:lpstr>Arial</vt:lpstr>
      <vt:lpstr>Calibri</vt:lpstr>
      <vt:lpstr>Franklin Gothic Book</vt:lpstr>
      <vt:lpstr>Garamond</vt:lpstr>
      <vt:lpstr>Georgia</vt:lpstr>
      <vt:lpstr>Lato</vt:lpstr>
      <vt:lpstr>Perpetua</vt:lpstr>
      <vt:lpstr>Times New Roman</vt:lpstr>
      <vt:lpstr>Wingdings 2</vt:lpstr>
      <vt:lpstr>Equity</vt:lpstr>
      <vt:lpstr>1_Office Theme</vt:lpstr>
      <vt:lpstr>Bitmap Image</vt:lpstr>
      <vt:lpstr>think-cell Slide</vt:lpstr>
      <vt:lpstr>Presentation</vt:lpstr>
      <vt:lpstr>An Introduction to  U.S. Procurement – Part II</vt:lpstr>
      <vt:lpstr>. . . And a U.S. approach to renewing its legal regime</vt:lpstr>
      <vt:lpstr>PowerPoint Presentation</vt:lpstr>
      <vt:lpstr>PowerPoint Presentation</vt:lpstr>
      <vt:lpstr>Major methods of competition</vt:lpstr>
      <vt:lpstr>Historical Progression</vt:lpstr>
      <vt:lpstr>Competitive Negotiations (EU:  “Competitive Dialogue” or “Competitive Procedures with Negotiations”)</vt:lpstr>
      <vt:lpstr>Competitive Negotiations: Multiple Vendors, for Best Value</vt:lpstr>
      <vt:lpstr>Competitive Negotiations</vt:lpstr>
      <vt:lpstr>PowerPoint Presentation</vt:lpstr>
      <vt:lpstr>PowerPoint Presentation</vt:lpstr>
      <vt:lpstr>Problems in U.S. Frameworks: 1990s</vt:lpstr>
      <vt:lpstr>Scandals</vt:lpstr>
      <vt:lpstr>PowerPoint Presentation</vt:lpstr>
      <vt:lpstr>EU uses same methods – but in a different historical progression</vt:lpstr>
      <vt:lpstr>Do the EU Directives Impose Additional Principles?</vt:lpstr>
      <vt:lpstr>Patterns in U.S. Procurement</vt:lpstr>
      <vt:lpstr>PowerPoint Presentation</vt:lpstr>
      <vt:lpstr>Defense Department Procurement – FY 2019</vt:lpstr>
      <vt:lpstr>PowerPoint Presentation</vt:lpstr>
      <vt:lpstr>Some Trends in DoD Procurement</vt:lpstr>
      <vt:lpstr>PowerPoint Presentation</vt:lpstr>
      <vt:lpstr>Access for Foreign Firms to Unitary Federal Procurement Market, Civilian and Defense</vt:lpstr>
      <vt:lpstr>DoD Acquisition Workforce</vt:lpstr>
      <vt:lpstr>Typical Progress</vt:lpstr>
      <vt:lpstr>Protectionism and the  Trump Administration</vt:lpstr>
      <vt:lpstr>PowerPoint Presentation</vt:lpstr>
      <vt:lpstr>PowerPoint Presentation</vt:lpstr>
      <vt:lpstr>Key concepts</vt:lpstr>
      <vt:lpstr>PowerPoint Presentation</vt:lpstr>
      <vt:lpstr>What Is Goal of Protectionism?</vt:lpstr>
      <vt:lpstr>PowerPoint Presentation</vt:lpstr>
      <vt:lpstr>PowerPoint Presentation</vt:lpstr>
      <vt:lpstr>PowerPoint Presentation</vt:lpstr>
      <vt:lpstr>U.S. Trade Agreements  Act:   A “Walled Garden”</vt:lpstr>
      <vt:lpstr>U.S. Domestic Preference Law:  Supplies</vt:lpstr>
      <vt:lpstr>Reciprocal Defense Procurement Agreements</vt:lpstr>
      <vt:lpstr>Defense – Memoranda of Understanding</vt:lpstr>
      <vt:lpstr>Trump Administration</vt:lpstr>
      <vt:lpstr>PowerPoint Presentation</vt:lpstr>
      <vt:lpstr>PowerPoint Presentation</vt:lpstr>
      <vt:lpstr>The RECIPROCity CONCEPT</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U.S. Procurement – Part II</dc:title>
  <dc:creator>Yukins, Christopher R.</dc:creator>
  <cp:lastModifiedBy>Yukins, Christopher R.</cp:lastModifiedBy>
  <cp:revision>1</cp:revision>
  <dcterms:created xsi:type="dcterms:W3CDTF">2020-01-30T11:24:26Z</dcterms:created>
  <dcterms:modified xsi:type="dcterms:W3CDTF">2020-01-30T11:25:51Z</dcterms:modified>
</cp:coreProperties>
</file>